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media/image6.png" ContentType="image/jpeg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87" r:id="rId2"/>
    <p:sldId id="257" r:id="rId3"/>
    <p:sldId id="258" r:id="rId4"/>
    <p:sldId id="286" r:id="rId5"/>
    <p:sldId id="307" r:id="rId6"/>
    <p:sldId id="293" r:id="rId7"/>
    <p:sldId id="298" r:id="rId8"/>
    <p:sldId id="309" r:id="rId9"/>
    <p:sldId id="312" r:id="rId10"/>
    <p:sldId id="311" r:id="rId11"/>
    <p:sldId id="289" r:id="rId12"/>
    <p:sldId id="265" r:id="rId13"/>
    <p:sldId id="302" r:id="rId14"/>
    <p:sldId id="264" r:id="rId15"/>
    <p:sldId id="283" r:id="rId16"/>
  </p:sldIdLst>
  <p:sldSz cx="9144000" cy="6858000" type="screen4x3"/>
  <p:notesSz cx="6797675" cy="9928225"/>
  <p:custDataLst>
    <p:tags r:id="rId19"/>
  </p:custDataLst>
  <p:defaultTextStyle>
    <a:defPPr>
      <a:defRPr lang="en-GB"/>
    </a:defPPr>
    <a:lvl1pPr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1pPr>
    <a:lvl2pPr marL="742950" indent="-28575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2pPr>
    <a:lvl3pPr marL="11430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3pPr>
    <a:lvl4pPr marL="16002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4pPr>
    <a:lvl5pPr marL="20574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081">
          <p15:clr>
            <a:srgbClr val="A4A3A4"/>
          </p15:clr>
        </p15:guide>
        <p15:guide id="4" pos="211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rigat.Michael" initials="GM" lastIdx="9" clrIdx="0"/>
  <p:cmAuthor id="1" name="Salil Sawhney" initials="SS" lastIdx="2" clrIdx="1"/>
  <p:cmAuthor id="2" name="krauss.sandro" initials="sk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9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8333" autoAdjust="0"/>
    <p:restoredTop sz="96530" autoAdjust="0"/>
  </p:normalViewPr>
  <p:slideViewPr>
    <p:cSldViewPr>
      <p:cViewPr varScale="1">
        <p:scale>
          <a:sx n="97" d="100"/>
          <a:sy n="97" d="100"/>
        </p:scale>
        <p:origin x="-1685" y="-86"/>
      </p:cViewPr>
      <p:guideLst>
        <p:guide orient="horz" pos="2160"/>
        <p:guide pos="2880"/>
      </p:guideLst>
    </p:cSldViewPr>
  </p:slideViewPr>
  <p:outlineViewPr>
    <p:cViewPr varScale="1">
      <p:scale>
        <a:sx n="170" d="200"/>
        <a:sy n="170" d="200"/>
      </p:scale>
      <p:origin x="-780" y="-8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>
      <p:cViewPr varScale="1">
        <p:scale>
          <a:sx n="59" d="100"/>
          <a:sy n="59" d="100"/>
        </p:scale>
        <p:origin x="-1752" y="-72"/>
      </p:cViewPr>
      <p:guideLst>
        <p:guide orient="horz" pos="2880"/>
        <p:guide orient="horz" pos="3081"/>
        <p:guide pos="2160"/>
        <p:guide pos="211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971" cy="49590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148" y="0"/>
            <a:ext cx="2945971" cy="49590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7CCAAF-252C-4847-8D16-EDD6B40E4912}" type="datetimeFigureOut">
              <a:rPr lang="en-US" smtClean="0"/>
              <a:pPr/>
              <a:t>7/1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625"/>
            <a:ext cx="2945971" cy="49590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148" y="9430625"/>
            <a:ext cx="2945971" cy="49590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996500-462A-4966-9632-4197CBF31A04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37442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AutoShape 1"/>
          <p:cNvSpPr>
            <a:spLocks noChangeArrowheads="1"/>
          </p:cNvSpPr>
          <p:nvPr/>
        </p:nvSpPr>
        <p:spPr bwMode="auto">
          <a:xfrm>
            <a:off x="0" y="1"/>
            <a:ext cx="6797675" cy="9928225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hdr"/>
          </p:nvPr>
        </p:nvSpPr>
        <p:spPr bwMode="auto">
          <a:xfrm>
            <a:off x="5529336" y="103597"/>
            <a:ext cx="627166" cy="22587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41173" y="103597"/>
            <a:ext cx="809247" cy="22587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Month Year</a:t>
            </a:r>
          </a:p>
        </p:txBody>
      </p:sp>
      <p:sp>
        <p:nvSpPr>
          <p:cNvPr id="2052" name="Rectangle 4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927100" y="750888"/>
            <a:ext cx="4941888" cy="3708400"/>
          </a:xfrm>
          <a:prstGeom prst="rect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053" name="Rectangle 5"/>
          <p:cNvSpPr>
            <a:spLocks noGrp="1" noChangeArrowheads="1"/>
          </p:cNvSpPr>
          <p:nvPr>
            <p:ph type="body"/>
          </p:nvPr>
        </p:nvSpPr>
        <p:spPr bwMode="auto">
          <a:xfrm>
            <a:off x="905735" y="4716163"/>
            <a:ext cx="4984651" cy="4466512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3600" tIns="46080" rIns="93600" bIns="4608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mtClean="0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/>
          </p:nvPr>
        </p:nvSpPr>
        <p:spPr bwMode="auto">
          <a:xfrm>
            <a:off x="5252326" y="9612343"/>
            <a:ext cx="904177" cy="19360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457200" algn="l"/>
                <a:tab pos="1371600" algn="l"/>
                <a:tab pos="2286000" algn="l"/>
                <a:tab pos="3200400" algn="l"/>
                <a:tab pos="4114800" algn="l"/>
                <a:tab pos="5029200" algn="l"/>
                <a:tab pos="5943600" algn="l"/>
                <a:tab pos="6858000" algn="l"/>
                <a:tab pos="7772400" algn="l"/>
                <a:tab pos="8686800" algn="l"/>
                <a:tab pos="9601200" algn="l"/>
                <a:tab pos="105156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/>
          </p:nvPr>
        </p:nvSpPr>
        <p:spPr bwMode="auto">
          <a:xfrm>
            <a:off x="3159176" y="9612342"/>
            <a:ext cx="501111" cy="38891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Page </a:t>
            </a:r>
            <a:fld id="{47A7FEEB-9CD2-43FE-843C-C5350BEACB45}" type="slidenum">
              <a:rPr lang="en-US"/>
              <a:pPr/>
              <a:t>‹Nr.›</a:t>
            </a:fld>
            <a:endParaRPr lang="en-US"/>
          </a:p>
        </p:txBody>
      </p:sp>
      <p:sp>
        <p:nvSpPr>
          <p:cNvPr id="2056" name="Rectangle 8"/>
          <p:cNvSpPr>
            <a:spLocks noChangeArrowheads="1"/>
          </p:cNvSpPr>
          <p:nvPr/>
        </p:nvSpPr>
        <p:spPr bwMode="auto">
          <a:xfrm>
            <a:off x="708092" y="9612343"/>
            <a:ext cx="718145" cy="184666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20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2057" name="Line 9"/>
          <p:cNvSpPr>
            <a:spLocks noChangeShapeType="1"/>
          </p:cNvSpPr>
          <p:nvPr/>
        </p:nvSpPr>
        <p:spPr bwMode="auto">
          <a:xfrm>
            <a:off x="709648" y="9610645"/>
            <a:ext cx="5378380" cy="169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058" name="Line 10"/>
          <p:cNvSpPr>
            <a:spLocks noChangeShapeType="1"/>
          </p:cNvSpPr>
          <p:nvPr/>
        </p:nvSpPr>
        <p:spPr bwMode="auto">
          <a:xfrm>
            <a:off x="634948" y="317582"/>
            <a:ext cx="5527780" cy="169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065918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465D53FD-DB5F-4815-BF01-6488A8FBD189}" type="slidenum">
              <a:rPr lang="en-US"/>
              <a:pPr/>
              <a:t>1</a:t>
            </a:fld>
            <a:endParaRPr lang="en-US"/>
          </a:p>
        </p:txBody>
      </p:sp>
      <p:sp>
        <p:nvSpPr>
          <p:cNvPr id="12289" name="Text Box 1"/>
          <p:cNvSpPr txBox="1">
            <a:spLocks noChangeArrowheads="1"/>
          </p:cNvSpPr>
          <p:nvPr/>
        </p:nvSpPr>
        <p:spPr bwMode="auto">
          <a:xfrm>
            <a:off x="1131390" y="750646"/>
            <a:ext cx="4534896" cy="371077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2290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0923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07B9ED38-6DD0-4691-9FC3-0BE6EBBA3E57}" type="slidenum">
              <a:rPr lang="en-US"/>
              <a:pPr/>
              <a:t>12</a:t>
            </a:fld>
            <a:endParaRPr lang="en-US"/>
          </a:p>
        </p:txBody>
      </p:sp>
      <p:sp>
        <p:nvSpPr>
          <p:cNvPr id="194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25513" y="750888"/>
            <a:ext cx="4946650" cy="37099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5703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E6AF579C-E269-44CC-A9F4-B7D1E2EA3836}" type="slidenum">
              <a:rPr lang="en-US"/>
              <a:pPr/>
              <a:t>14</a:t>
            </a:fld>
            <a:endParaRPr lang="en-US"/>
          </a:p>
        </p:txBody>
      </p:sp>
      <p:sp>
        <p:nvSpPr>
          <p:cNvPr id="2048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25513" y="750888"/>
            <a:ext cx="4946650" cy="37099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4468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07B9ED38-6DD0-4691-9FC3-0BE6EBBA3E57}" type="slidenum">
              <a:rPr lang="en-US"/>
              <a:pPr/>
              <a:t>15</a:t>
            </a:fld>
            <a:endParaRPr lang="en-US"/>
          </a:p>
        </p:txBody>
      </p:sp>
      <p:sp>
        <p:nvSpPr>
          <p:cNvPr id="194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25513" y="750888"/>
            <a:ext cx="4946650" cy="37099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5703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CA5AFF69-4AEE-4693-9CD6-98E2EBC076EC}" type="slidenum">
              <a:rPr lang="en-US"/>
              <a:pPr/>
              <a:t>2</a:t>
            </a:fld>
            <a:endParaRPr lang="en-US"/>
          </a:p>
        </p:txBody>
      </p:sp>
      <p:sp>
        <p:nvSpPr>
          <p:cNvPr id="13313" name="Text Box 1"/>
          <p:cNvSpPr txBox="1">
            <a:spLocks noChangeArrowheads="1"/>
          </p:cNvSpPr>
          <p:nvPr/>
        </p:nvSpPr>
        <p:spPr bwMode="auto">
          <a:xfrm>
            <a:off x="1131390" y="750646"/>
            <a:ext cx="4534896" cy="371077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3314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03076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EA25EADA-8DDC-4EE3-B5F1-3BBBDDDD6BEC}" type="slidenum">
              <a:rPr lang="en-US"/>
              <a:pPr/>
              <a:t>3</a:t>
            </a:fld>
            <a:endParaRPr lang="en-US"/>
          </a:p>
        </p:txBody>
      </p:sp>
      <p:sp>
        <p:nvSpPr>
          <p:cNvPr id="1433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25513" y="750888"/>
            <a:ext cx="4946650" cy="37099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0606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07B9ED38-6DD0-4691-9FC3-0BE6EBBA3E57}" type="slidenum">
              <a:rPr lang="en-US"/>
              <a:pPr/>
              <a:t>4</a:t>
            </a:fld>
            <a:endParaRPr lang="en-US"/>
          </a:p>
        </p:txBody>
      </p:sp>
      <p:sp>
        <p:nvSpPr>
          <p:cNvPr id="194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25513" y="750888"/>
            <a:ext cx="4946650" cy="37099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6311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6A824DE9-FED7-4AB7-8253-E7DBD107D396}" type="slidenum">
              <a:rPr lang="en-US"/>
              <a:pPr/>
              <a:t>5</a:t>
            </a:fld>
            <a:endParaRPr lang="en-US"/>
          </a:p>
        </p:txBody>
      </p:sp>
      <p:sp>
        <p:nvSpPr>
          <p:cNvPr id="15361" name="Text Box 1"/>
          <p:cNvSpPr txBox="1">
            <a:spLocks noChangeArrowheads="1"/>
          </p:cNvSpPr>
          <p:nvPr/>
        </p:nvSpPr>
        <p:spPr bwMode="auto">
          <a:xfrm>
            <a:off x="1131390" y="750646"/>
            <a:ext cx="4534896" cy="371077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5362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7729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0D310956-CE0F-4B68-9CE0-7A7604BB42D7}" type="slidenum">
              <a:rPr lang="en-US"/>
              <a:pPr/>
              <a:t>6</a:t>
            </a:fld>
            <a:endParaRPr lang="en-US"/>
          </a:p>
        </p:txBody>
      </p:sp>
      <p:sp>
        <p:nvSpPr>
          <p:cNvPr id="1638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25513" y="750888"/>
            <a:ext cx="4946650" cy="37099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5585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07B9ED38-6DD0-4691-9FC3-0BE6EBBA3E57}" type="slidenum">
              <a:rPr lang="en-US"/>
              <a:pPr/>
              <a:t>7</a:t>
            </a:fld>
            <a:endParaRPr lang="en-US"/>
          </a:p>
        </p:txBody>
      </p:sp>
      <p:sp>
        <p:nvSpPr>
          <p:cNvPr id="194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25513" y="750888"/>
            <a:ext cx="4946650" cy="37099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6311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6A824DE9-FED7-4AB7-8253-E7DBD107D396}" type="slidenum">
              <a:rPr lang="en-US"/>
              <a:pPr/>
              <a:t>8</a:t>
            </a:fld>
            <a:endParaRPr lang="en-US"/>
          </a:p>
        </p:txBody>
      </p:sp>
      <p:sp>
        <p:nvSpPr>
          <p:cNvPr id="15361" name="Text Box 1"/>
          <p:cNvSpPr txBox="1">
            <a:spLocks noChangeArrowheads="1"/>
          </p:cNvSpPr>
          <p:nvPr/>
        </p:nvSpPr>
        <p:spPr bwMode="auto">
          <a:xfrm>
            <a:off x="1131390" y="750646"/>
            <a:ext cx="4534896" cy="371077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5362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47729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07B9ED38-6DD0-4691-9FC3-0BE6EBBA3E57}" type="slidenum">
              <a:rPr lang="en-US"/>
              <a:pPr/>
              <a:t>11</a:t>
            </a:fld>
            <a:endParaRPr lang="en-US"/>
          </a:p>
        </p:txBody>
      </p:sp>
      <p:sp>
        <p:nvSpPr>
          <p:cNvPr id="194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25513" y="750888"/>
            <a:ext cx="4946650" cy="37099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6311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onth Yea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John Doe, Some Company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DE40C9FC-4879-4F20-9ECA-A574A90476B7}" type="slidenum">
              <a:rPr lang="en-GB"/>
              <a:pPr/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4849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440F5867-744E-4AA6-B0ED-4C44D2DFBB7B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ftr" idx="14"/>
          </p:nvPr>
        </p:nvSpPr>
        <p:spPr bwMode="auto">
          <a:xfrm>
            <a:off x="5357818" y="6475413"/>
            <a:ext cx="3184520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 smtClean="0"/>
              <a:t>Michael Grigat, Deutsche Telekom AG</a:t>
            </a:r>
            <a:endParaRPr lang="en-GB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dt" idx="15"/>
          </p:nvPr>
        </p:nvSpPr>
        <p:spPr bwMode="auto">
          <a:xfrm>
            <a:off x="696912" y="333375"/>
            <a:ext cx="187482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smtClean="0"/>
              <a:t>Month Year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onth Yea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John Doe, Some Company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3ABCC52B-A3F7-440B-BBF2-55191E6E7773}" type="slidenum">
              <a:rPr lang="en-GB"/>
              <a:pPr/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08413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981200"/>
            <a:ext cx="3810000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onth Year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John Doe, Some Company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1CD163DD-D5E7-41DA-95F2-71530C24F8C3}" type="slidenum">
              <a:rPr lang="en-GB"/>
              <a:pPr/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onth Year</a:t>
            </a:r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idx="11"/>
          </p:nvPr>
        </p:nvSpPr>
        <p:spPr>
          <a:xfrm>
            <a:off x="5643570" y="6475413"/>
            <a:ext cx="2898768" cy="180975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John Doe, Some Company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69B99EC4-A1FB-4C79-B9A5-C1FFD5A90380}" type="slidenum">
              <a:rPr lang="en-GB"/>
              <a:pPr/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onth Year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John Doe, Some Company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06B781AF-4CCF-49B0-A572-DE54FBE5D942}" type="slidenum">
              <a:rPr lang="en-GB"/>
              <a:pPr/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onth Year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John Doe, Some Company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F5D8E26B-7BCF-4D25-9C89-0168A6618F18}" type="slidenum">
              <a:rPr lang="en-GB"/>
              <a:pPr/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onth Yea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John Doe, Some Company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6B5E41C2-EF12-4EF2-8280-F2B4208277C2}" type="slidenum">
              <a:rPr lang="en-GB"/>
              <a:pPr/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85800"/>
            <a:ext cx="1941513" cy="5408613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5676900" cy="5408613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onth Yea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John Doe, Some Company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9B0D65C8-A0CA-4DDA-83BB-897866218593}" type="slidenum">
              <a:rPr lang="en-GB"/>
              <a:pPr/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4030251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02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85800"/>
            <a:ext cx="7770813" cy="1065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the title text format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0813" cy="4113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the outline text format</a:t>
            </a:r>
          </a:p>
          <a:p>
            <a:pPr lvl="1"/>
            <a:r>
              <a:rPr lang="en-GB" smtClean="0"/>
              <a:t>Second Outline Level</a:t>
            </a:r>
          </a:p>
          <a:p>
            <a:pPr lvl="2"/>
            <a:r>
              <a:rPr lang="en-GB" smtClean="0"/>
              <a:t>Third Outline Level</a:t>
            </a:r>
          </a:p>
          <a:p>
            <a:pPr lvl="3"/>
            <a:r>
              <a:rPr lang="en-GB" smtClean="0"/>
              <a:t>Fourth Outline Level</a:t>
            </a:r>
          </a:p>
          <a:p>
            <a:pPr lvl="4"/>
            <a:r>
              <a:rPr lang="en-GB" smtClean="0"/>
              <a:t>Fifth Outline Level</a:t>
            </a:r>
          </a:p>
          <a:p>
            <a:pPr lvl="4"/>
            <a:r>
              <a:rPr lang="en-GB" smtClean="0"/>
              <a:t>Sixth Outline Level</a:t>
            </a:r>
          </a:p>
          <a:p>
            <a:pPr lvl="4"/>
            <a:r>
              <a:rPr lang="en-GB" smtClean="0"/>
              <a:t>Seventh Outline Level</a:t>
            </a:r>
          </a:p>
          <a:p>
            <a:pPr lvl="4"/>
            <a:r>
              <a:rPr lang="en-GB" smtClean="0"/>
              <a:t>Eighth Outline Level</a:t>
            </a:r>
          </a:p>
          <a:p>
            <a:pPr lvl="4"/>
            <a:r>
              <a:rPr lang="en-GB" smtClean="0"/>
              <a:t>Ninth Outline Level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96912" y="333375"/>
            <a:ext cx="187482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smtClean="0"/>
              <a:t>Month Year</a:t>
            </a:r>
            <a:endParaRPr lang="en-GB" dirty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/>
          </p:nvPr>
        </p:nvSpPr>
        <p:spPr bwMode="auto">
          <a:xfrm>
            <a:off x="5357818" y="6475413"/>
            <a:ext cx="3184520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smtClean="0"/>
              <a:t>John Doe, Some Company</a:t>
            </a:r>
            <a:endParaRPr lang="en-GB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4344988" y="6475413"/>
            <a:ext cx="528637" cy="3635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/>
              <a:t>Slide </a:t>
            </a:r>
            <a:fld id="{D09C756B-EB39-4236-ADBB-73052B179AE4}" type="slidenum">
              <a:rPr lang="en-GB"/>
              <a:pPr/>
              <a:t>‹Nr.›</a:t>
            </a:fld>
            <a:endParaRPr lang="en-GB"/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685800" y="609600"/>
            <a:ext cx="77724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684213" y="6475413"/>
            <a:ext cx="714375" cy="182562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1200" dirty="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685800" y="6477000"/>
            <a:ext cx="78486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10" name="Date Placeholder 3"/>
          <p:cNvSpPr txBox="1">
            <a:spLocks/>
          </p:cNvSpPr>
          <p:nvPr/>
        </p:nvSpPr>
        <p:spPr bwMode="auto">
          <a:xfrm>
            <a:off x="5000628" y="357166"/>
            <a:ext cx="3500462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doc.: IEEE 802.11-17/1019r2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8" r:id="rId8"/>
    <p:sldLayoutId id="2147483659" r:id="rId9"/>
  </p:sldLayoutIdLst>
  <p:timing>
    <p:tnLst>
      <p:par>
        <p:cTn id="1" dur="indefinite" restart="never" nodeType="tmRoot"/>
      </p:par>
    </p:tnLst>
  </p:timing>
  <p:hf hdr="0"/>
  <p:txStyles>
    <p:titleStyle>
      <a:lvl1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+mj-lt"/>
          <a:ea typeface="+mj-ea"/>
          <a:cs typeface="+mj-cs"/>
        </a:defRPr>
      </a:lvl1pPr>
      <a:lvl2pPr marL="742950" indent="-28575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2pPr>
      <a:lvl3pPr marL="1143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3pPr>
      <a:lvl4pPr marL="1600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4pPr>
      <a:lvl5pPr marL="20574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5pPr>
      <a:lvl6pPr marL="25146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6pPr>
      <a:lvl7pPr marL="29718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7pPr>
      <a:lvl8pPr marL="3429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8pPr>
      <a:lvl9pPr marL="3886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9pPr>
    </p:titleStyle>
    <p:bodyStyle>
      <a:lvl1pPr marL="342900" indent="-342900" algn="l" defTabSz="449263" rtl="0" eaLnBrk="1" fontAlgn="base" hangingPunct="1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400" b="1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2pPr>
      <a:lvl3pPr marL="1143000" indent="-228600" algn="l" defTabSz="449263" rtl="0" eaLnBrk="1" fontAlgn="base" hangingPunct="1">
        <a:spcBef>
          <a:spcPts val="45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>
          <a:solidFill>
            <a:srgbClr val="000000"/>
          </a:solidFill>
          <a:latin typeface="+mn-lt"/>
          <a:ea typeface="+mn-ea"/>
        </a:defRPr>
      </a:lvl3pPr>
      <a:lvl4pPr marL="1600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4pPr>
      <a:lvl5pPr marL="20574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5pPr>
      <a:lvl6pPr marL="25146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6pPr>
      <a:lvl7pPr marL="29718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7pPr>
      <a:lvl8pPr marL="34290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8pPr>
      <a:lvl9pPr marL="3886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tif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9.tif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93823DB3-BAA4-4F4A-B4B3-ED9ABE70E976}" type="slidenum">
              <a:rPr lang="en-GB"/>
              <a:pPr/>
              <a:t>1</a:t>
            </a:fld>
            <a:endParaRPr lang="en-GB" dirty="0"/>
          </a:p>
        </p:txBody>
      </p:sp>
      <p:sp>
        <p:nvSpPr>
          <p:cNvPr id="3073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5800"/>
            <a:ext cx="7772400" cy="1066800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2800" dirty="0" err="1" smtClean="0"/>
              <a:t>mmWave</a:t>
            </a:r>
            <a:r>
              <a:rPr lang="en-GB" sz="2800" dirty="0" smtClean="0"/>
              <a:t> Distribution Network Usage Model</a:t>
            </a:r>
            <a:endParaRPr lang="en-GB" sz="2800" dirty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1524000"/>
            <a:ext cx="7772400" cy="396875"/>
          </a:xfrm>
          <a:ln/>
        </p:spPr>
        <p:txBody>
          <a:bodyPr/>
          <a:lstStyle/>
          <a:p>
            <a:pPr algn="ctr">
              <a:spcBef>
                <a:spcPts val="5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2000" dirty="0"/>
              <a:t>Date:</a:t>
            </a:r>
            <a:r>
              <a:rPr lang="en-GB" sz="2000" b="0" dirty="0"/>
              <a:t> </a:t>
            </a:r>
            <a:r>
              <a:rPr lang="en-GB" sz="2000" b="0" dirty="0" smtClean="0"/>
              <a:t>2017-07-11</a:t>
            </a:r>
            <a:endParaRPr lang="en-GB" sz="2000" b="0" dirty="0"/>
          </a:p>
        </p:txBody>
      </p:sp>
      <p:graphicFrame>
        <p:nvGraphicFramePr>
          <p:cNvPr id="3075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30163917"/>
              </p:ext>
            </p:extLst>
          </p:nvPr>
        </p:nvGraphicFramePr>
        <p:xfrm>
          <a:off x="508000" y="2568575"/>
          <a:ext cx="7662863" cy="2540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07" name="Document" r:id="rId4" imgW="8252039" imgH="2742525" progId="Word.Document.8">
                  <p:embed/>
                </p:oleObj>
              </mc:Choice>
              <mc:Fallback>
                <p:oleObj name="Document" r:id="rId4" imgW="8252039" imgH="2742525" progId="Word.Document.8">
                  <p:embed/>
                  <p:pic>
                    <p:nvPicPr>
                      <p:cNvPr id="3075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8000" y="2568575"/>
                        <a:ext cx="7662863" cy="2540000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4"/>
          <p:cNvSpPr>
            <a:spLocks noChangeArrowheads="1"/>
          </p:cNvSpPr>
          <p:nvPr/>
        </p:nvSpPr>
        <p:spPr bwMode="auto">
          <a:xfrm>
            <a:off x="533400" y="1939925"/>
            <a:ext cx="1447800" cy="381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2160" tIns="46080" rIns="92160" bIns="46080"/>
          <a:lstStyle/>
          <a:p>
            <a:pPr>
              <a:spcBef>
                <a:spcPts val="500"/>
              </a:spcBef>
              <a:tabLst>
                <a:tab pos="342900" algn="l"/>
                <a:tab pos="1257300" algn="l"/>
                <a:tab pos="2171700" algn="l"/>
                <a:tab pos="3086100" algn="l"/>
                <a:tab pos="4000500" algn="l"/>
                <a:tab pos="4914900" algn="l"/>
                <a:tab pos="5829300" algn="l"/>
                <a:tab pos="6743700" algn="l"/>
                <a:tab pos="7658100" algn="l"/>
                <a:tab pos="8572500" algn="l"/>
                <a:tab pos="9486900" algn="l"/>
                <a:tab pos="10401300" algn="l"/>
              </a:tabLst>
            </a:pPr>
            <a:r>
              <a:rPr lang="en-GB" sz="2000">
                <a:solidFill>
                  <a:srgbClr val="000000"/>
                </a:solidFill>
              </a:rPr>
              <a:t>Authors: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 smtClean="0"/>
              <a:t>Michael Grigat, Deutsche Telekom AG</a:t>
            </a:r>
            <a:endParaRPr lang="en-GB" dirty="0"/>
          </a:p>
        </p:txBody>
      </p:sp>
      <p:sp>
        <p:nvSpPr>
          <p:cNvPr id="10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148653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smtClean="0"/>
              <a:t>Slide </a:t>
            </a:r>
            <a:fld id="{440F5867-744E-4AA6-B0ED-4C44D2DFBB7B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8" name="Shape 212"/>
          <p:cNvSpPr txBox="1"/>
          <p:nvPr/>
        </p:nvSpPr>
        <p:spPr>
          <a:xfrm>
            <a:off x="4860032" y="1556792"/>
            <a:ext cx="3841304" cy="1512168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171450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edundancy will be achieved via the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esh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opology</a:t>
            </a:r>
            <a:endParaRPr lang="en-US" sz="12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ingle-Points-of-Failur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have to be avoided, either by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edundant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ctiv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equipment at the “first” pole next to the fiber-</a:t>
            </a:r>
            <a:r>
              <a:rPr lang="en-US" sz="12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PoP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or alternative via connection of the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istribution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network to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2 or more fiber-</a:t>
            </a:r>
            <a:r>
              <a:rPr lang="en-US" sz="12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oPs</a:t>
            </a:r>
            <a:endParaRPr lang="en-US" sz="12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distribution network connects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y optical fiber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owards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Telco / Service Provider network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</a:p>
        </p:txBody>
      </p:sp>
      <p:sp>
        <p:nvSpPr>
          <p:cNvPr id="9" name="Shape 213"/>
          <p:cNvSpPr txBox="1"/>
          <p:nvPr/>
        </p:nvSpPr>
        <p:spPr>
          <a:xfrm>
            <a:off x="323528" y="1556792"/>
            <a:ext cx="4394246" cy="4824536"/>
          </a:xfrm>
          <a:prstGeom prst="rect">
            <a:avLst/>
          </a:prstGeom>
          <a:noFill/>
          <a:ln>
            <a:noFill/>
          </a:ln>
        </p:spPr>
        <p:txBody>
          <a:bodyPr lIns="91425" tIns="45700" rIns="72000" bIns="45700" anchor="t" anchorCtr="0">
            <a:noAutofit/>
          </a:bodyPr>
          <a:lstStyle/>
          <a:p>
            <a:pPr marL="171450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lang="en-US" sz="12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istribution network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will be formed by a number of 11ay outdoor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Ns,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hich are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sed for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ackhauling of the proposed applications.</a:t>
            </a:r>
          </a:p>
          <a:p>
            <a:pPr marL="171450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n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ddition to the 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distribution network,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lso a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tMP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 access network is build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o serve the homes/buildings.</a:t>
            </a:r>
            <a:endParaRPr lang="en-US" sz="1200" kern="0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e 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distribution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network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need to support a transmission over multiple hops in order to reach area coverage. </a:t>
            </a:r>
          </a:p>
          <a:p>
            <a:pPr marL="449263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istanc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er hop between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aired DNs is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up to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300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 and distance between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N sites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nd WTTH/B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Home/Building APs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s up to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100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</a:p>
          <a:p>
            <a:pPr marL="449263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number of hops in a daisy-chain is limited by area topology constraints, resulting in &lt; 5 hops typically.</a:t>
            </a:r>
          </a:p>
          <a:p>
            <a:pPr marL="714375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system have the capability to support up to 15 hops to meet region specific requirements.</a:t>
            </a:r>
          </a:p>
          <a:p>
            <a:pPr marL="171450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e 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DNs have to operat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n outdoor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environments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with LOS under most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ditions, taking into account potential constraints.</a:t>
            </a:r>
          </a:p>
          <a:p>
            <a:pPr marL="450850" lvl="1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nterferenc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rom environmental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ditions or other mmWave operations in the same area</a:t>
            </a:r>
          </a:p>
          <a:p>
            <a:pPr marL="450850" lvl="1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bstructions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f the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LOS and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beam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un-alignments.</a:t>
            </a:r>
          </a:p>
          <a:p>
            <a:pPr marL="185738" lvl="1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network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has to support different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N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lacement options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uch as street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oles (e.g. lamppost), house-walls and rooftop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en-US" sz="12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July 2017</a:t>
            </a:r>
            <a:endParaRPr lang="en-GB" dirty="0">
              <a:solidFill>
                <a:schemeClr val="tx1"/>
              </a:solidFill>
            </a:endParaRPr>
          </a:p>
        </p:txBody>
      </p:sp>
      <p:graphicFrame>
        <p:nvGraphicFramePr>
          <p:cNvPr id="11" name="Table 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4253998"/>
              </p:ext>
            </p:extLst>
          </p:nvPr>
        </p:nvGraphicFramePr>
        <p:xfrm>
          <a:off x="4716016" y="3222864"/>
          <a:ext cx="4129334" cy="2734800"/>
        </p:xfrm>
        <a:graphic>
          <a:graphicData uri="http://schemas.openxmlformats.org/drawingml/2006/table">
            <a:tbl>
              <a:tblPr firstRow="1" bandRow="1"/>
              <a:tblGrid>
                <a:gridCol w="122413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1216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39303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782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b="1" noProof="0" dirty="0" smtClean="0"/>
                        <a:t>Requirements</a:t>
                      </a:r>
                    </a:p>
                    <a:p>
                      <a:r>
                        <a:rPr lang="en-US" altLang="zh-CN" sz="1000" b="0" noProof="0" dirty="0" smtClean="0"/>
                        <a:t>(operator example)</a:t>
                      </a:r>
                      <a:endParaRPr lang="en-US" altLang="zh-CN" sz="1000" b="0" noProof="0" dirty="0"/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b="1" noProof="0" dirty="0" err="1" smtClean="0"/>
                        <a:t>mmWave</a:t>
                      </a:r>
                      <a:r>
                        <a:rPr lang="en-US" altLang="zh-CN" sz="1000" b="1" noProof="0" dirty="0" smtClean="0"/>
                        <a:t>  Distribution Network</a:t>
                      </a:r>
                      <a:endParaRPr lang="en-US" altLang="zh-CN" sz="1000" b="1" noProof="0" dirty="0"/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b="1" noProof="0" dirty="0" smtClean="0"/>
                        <a:t>mmWave Home/ Building Access </a:t>
                      </a:r>
                      <a:endParaRPr lang="en-US" altLang="zh-CN" sz="1000" b="1" noProof="0" dirty="0"/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82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noProof="0" dirty="0" smtClean="0"/>
                        <a:t># of</a:t>
                      </a:r>
                      <a:r>
                        <a:rPr lang="en-US" altLang="zh-CN" sz="1000" baseline="0" noProof="0" dirty="0" smtClean="0"/>
                        <a:t> hops (o</a:t>
                      </a:r>
                      <a:r>
                        <a:rPr lang="en-US" altLang="zh-CN" sz="1000" noProof="0" dirty="0" smtClean="0"/>
                        <a:t>utdoor)*</a:t>
                      </a:r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5 (typically)</a:t>
                      </a:r>
                      <a:br>
                        <a:rPr lang="en-US" altLang="zh-CN" sz="1000" noProof="0" dirty="0" smtClean="0"/>
                      </a:br>
                      <a:r>
                        <a:rPr lang="en-US" altLang="zh-CN" sz="1000" noProof="0" dirty="0" smtClean="0"/>
                        <a:t>&lt; 15 (system capability)</a:t>
                      </a:r>
                      <a:endParaRPr lang="en-US" altLang="zh-CN" sz="1000" noProof="0" dirty="0"/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 1</a:t>
                      </a:r>
                      <a:endParaRPr lang="en-US" altLang="zh-CN" sz="1000" noProof="0" dirty="0"/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82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LOS distance</a:t>
                      </a:r>
                      <a:r>
                        <a:rPr lang="en-US" altLang="zh-CN" sz="1000" baseline="0" noProof="0" dirty="0" smtClean="0"/>
                        <a:t> / link</a:t>
                      </a:r>
                      <a:endParaRPr lang="en-US" altLang="zh-CN" sz="1000" noProof="0" dirty="0"/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300 m (street-poles)</a:t>
                      </a:r>
                    </a:p>
                    <a:p>
                      <a:pPr algn="ctr"/>
                      <a:r>
                        <a:rPr lang="en-US" altLang="zh-CN" sz="1000" noProof="0" dirty="0" smtClean="0"/>
                        <a:t>&lt;</a:t>
                      </a:r>
                      <a:r>
                        <a:rPr lang="en-US" altLang="zh-CN" sz="1000" baseline="0" noProof="0" dirty="0" smtClean="0"/>
                        <a:t> 1000 m (rooftops)</a:t>
                      </a:r>
                      <a:endParaRPr lang="en-US" altLang="zh-CN" sz="1000" noProof="0" dirty="0"/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100 m</a:t>
                      </a:r>
                      <a:endParaRPr lang="en-US" altLang="zh-CN" sz="1000" noProof="0" dirty="0"/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9316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# of DN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80 / km²</a:t>
                      </a:r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home/building density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9316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Topology support</a:t>
                      </a:r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esh, PtMP, Daisy chain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kern="120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PtP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, PtMP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782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noProof="0" dirty="0" smtClean="0"/>
                        <a:t>Dat</a:t>
                      </a:r>
                      <a:r>
                        <a:rPr lang="en-US" altLang="zh-CN" sz="1000" baseline="0" noProof="0" dirty="0" smtClean="0"/>
                        <a:t>a Rate </a:t>
                      </a:r>
                      <a:br>
                        <a:rPr lang="en-US" altLang="zh-CN" sz="1000" baseline="0" noProof="0" dirty="0" smtClean="0"/>
                      </a:br>
                      <a:r>
                        <a:rPr lang="en-US" altLang="zh-CN" sz="1000" baseline="0" noProof="0" dirty="0" smtClean="0"/>
                        <a:t>(DL sustainable)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gt; 4 Gbps</a:t>
                      </a:r>
                      <a:r>
                        <a:rPr lang="en-US" altLang="zh-CN" sz="1000" baseline="0" noProof="0" dirty="0" smtClean="0"/>
                        <a:t> / 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DN site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Font typeface="Wingdings"/>
                        <a:buNone/>
                      </a:pPr>
                      <a:r>
                        <a:rPr lang="en-US" altLang="zh-CN" sz="1000" noProof="0" dirty="0" smtClean="0"/>
                        <a:t>&gt; 1 Gbps / Home AP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en-US" altLang="zh-CN" sz="1000" noProof="0" dirty="0" smtClean="0"/>
                        <a:t>&gt; 2 Gbps / Building</a:t>
                      </a:r>
                      <a:r>
                        <a:rPr lang="en-US" altLang="zh-CN" sz="1000" baseline="0" noProof="0" dirty="0" smtClean="0"/>
                        <a:t> </a:t>
                      </a:r>
                      <a:r>
                        <a:rPr lang="en-US" altLang="zh-CN" sz="1000" noProof="0" dirty="0" smtClean="0"/>
                        <a:t>AP</a:t>
                      </a:r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9316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Antenna features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Beam-forming/tracking; Auto-alignment </a:t>
                      </a:r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782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Latency (RTT) </a:t>
                      </a:r>
                      <a:br>
                        <a:rPr lang="en-US" altLang="zh-CN" sz="1000" noProof="0" dirty="0" smtClean="0"/>
                      </a:br>
                      <a:endParaRPr lang="en-US" altLang="zh-CN" sz="1000" noProof="0" dirty="0"/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15 </a:t>
                      </a:r>
                      <a:r>
                        <a:rPr lang="en-US" altLang="zh-CN" sz="1000" noProof="0" dirty="0" err="1" smtClean="0"/>
                        <a:t>ms</a:t>
                      </a:r>
                      <a:r>
                        <a:rPr lang="en-US" altLang="zh-CN" sz="1000" noProof="0" dirty="0" smtClean="0"/>
                        <a:t> (WTTH/B, </a:t>
                      </a:r>
                      <a:r>
                        <a:rPr lang="en-US" altLang="zh-CN" sz="1000" noProof="0" dirty="0" err="1" smtClean="0"/>
                        <a:t>WiFi</a:t>
                      </a:r>
                      <a:r>
                        <a:rPr lang="en-US" altLang="zh-CN" sz="1000" noProof="0" dirty="0" smtClean="0"/>
                        <a:t> AP BH) (e-t-e)**</a:t>
                      </a:r>
                    </a:p>
                    <a:p>
                      <a:pPr algn="ctr"/>
                      <a:r>
                        <a:rPr lang="en-US" altLang="zh-CN" sz="1000" noProof="0" dirty="0" smtClean="0"/>
                        <a:t>&lt; 5 </a:t>
                      </a:r>
                      <a:r>
                        <a:rPr lang="en-US" altLang="zh-CN" sz="1000" noProof="0" dirty="0" err="1" smtClean="0"/>
                        <a:t>ms</a:t>
                      </a:r>
                      <a:r>
                        <a:rPr lang="en-US" altLang="zh-CN" sz="1000" noProof="0" dirty="0" smtClean="0"/>
                        <a:t> (5G</a:t>
                      </a:r>
                      <a:r>
                        <a:rPr lang="en-US" altLang="zh-CN" sz="1000" baseline="0" noProof="0" dirty="0" smtClean="0"/>
                        <a:t> Small cell BH) (e-t-e)**</a:t>
                      </a:r>
                    </a:p>
                    <a:p>
                      <a:pPr algn="ctr"/>
                      <a:r>
                        <a:rPr lang="en-US" altLang="zh-CN" sz="1000" baseline="0" noProof="0" dirty="0" smtClean="0"/>
                        <a:t>&lt; 2 </a:t>
                      </a:r>
                      <a:r>
                        <a:rPr lang="en-US" altLang="zh-CN" sz="1000" baseline="0" noProof="0" dirty="0" err="1" smtClean="0"/>
                        <a:t>ms</a:t>
                      </a:r>
                      <a:r>
                        <a:rPr lang="en-US" altLang="zh-CN" sz="1000" baseline="0" noProof="0" dirty="0" smtClean="0"/>
                        <a:t> (per hop latency)</a:t>
                      </a:r>
                      <a:endParaRPr lang="en-US" altLang="zh-CN" sz="1000" noProof="0" dirty="0"/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altLang="zh-CN" sz="1000" noProof="0" dirty="0"/>
                    </a:p>
                  </a:txBody>
                  <a:tcPr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931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err="1" smtClean="0"/>
                        <a:t>QoS</a:t>
                      </a:r>
                      <a:r>
                        <a:rPr lang="en-US" altLang="zh-CN" sz="1000" noProof="0" dirty="0" smtClean="0"/>
                        <a:t>,</a:t>
                      </a:r>
                      <a:r>
                        <a:rPr lang="en-US" altLang="zh-CN" sz="1000" baseline="0" noProof="0" dirty="0" smtClean="0"/>
                        <a:t> </a:t>
                      </a:r>
                      <a:r>
                        <a:rPr lang="en-US" altLang="zh-CN" sz="1000" noProof="0" dirty="0" smtClean="0"/>
                        <a:t>Security, Sync.</a:t>
                      </a:r>
                      <a:endParaRPr lang="en-US" altLang="zh-CN" sz="1000" noProof="0" dirty="0"/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err="1" smtClean="0"/>
                        <a:t>QoS</a:t>
                      </a:r>
                      <a:r>
                        <a:rPr lang="en-US" altLang="zh-CN" sz="1000" noProof="0" dirty="0" smtClean="0"/>
                        <a:t>/</a:t>
                      </a:r>
                      <a:r>
                        <a:rPr lang="en-US" altLang="zh-CN" sz="1000" noProof="0" dirty="0" err="1" smtClean="0"/>
                        <a:t>QoE</a:t>
                      </a:r>
                      <a:r>
                        <a:rPr lang="en-US" altLang="zh-CN" sz="1000" baseline="0" noProof="0" dirty="0" smtClean="0"/>
                        <a:t>, Security C/I and Sync. support </a:t>
                      </a:r>
                      <a:endParaRPr lang="en-US" altLang="zh-CN" sz="1000" noProof="0" dirty="0"/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altLang="zh-CN" sz="1000" noProof="0" dirty="0"/>
                    </a:p>
                  </a:txBody>
                  <a:tcPr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9316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Availability of sust. data rate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No guarantees in an unlicensed environment.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gt; 99%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should be aimed (e-t-e </a:t>
                      </a:r>
                      <a:r>
                        <a:rPr lang="en-US" altLang="zh-CN" sz="1000" kern="1200" baseline="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mWave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)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0" name="Fußzeilenplatzhalter 4"/>
          <p:cNvSpPr txBox="1">
            <a:spLocks/>
          </p:cNvSpPr>
          <p:nvPr/>
        </p:nvSpPr>
        <p:spPr bwMode="auto">
          <a:xfrm>
            <a:off x="6588224" y="6021288"/>
            <a:ext cx="2160240" cy="36004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kern="1200">
                <a:solidFill>
                  <a:srgbClr val="000000"/>
                </a:solidFill>
                <a:latin typeface="Times New Roman" pitchFamily="16" charset="0"/>
                <a:ea typeface="MS Gothic" charset="-128"/>
                <a:cs typeface="Arial Unicode MS" charset="0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l"/>
            <a:r>
              <a:rPr lang="en-GB" sz="800" dirty="0" smtClean="0"/>
              <a:t>‘ * of hops depends on latency requirements</a:t>
            </a:r>
            <a:br>
              <a:rPr lang="en-GB" sz="800" dirty="0" smtClean="0"/>
            </a:br>
            <a:r>
              <a:rPr lang="en-GB" sz="800" dirty="0" smtClean="0"/>
              <a:t>**  may differ based on operator deployments</a:t>
            </a:r>
            <a:endParaRPr lang="en-GB" sz="800" dirty="0"/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489792" y="685801"/>
            <a:ext cx="8330680" cy="726975"/>
          </a:xfrm>
        </p:spPr>
        <p:txBody>
          <a:bodyPr/>
          <a:lstStyle/>
          <a:p>
            <a:r>
              <a:rPr lang="en-US" dirty="0" smtClean="0"/>
              <a:t>Usage Model: Operational Requirem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362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July 2017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>
                <a:solidFill>
                  <a:schemeClr val="tx1"/>
                </a:solidFill>
              </a:rPr>
              <a:t>Slide </a:t>
            </a:r>
            <a:fld id="{DC83D890-10BB-4905-98E9-EC5FFEC1B9BB}" type="slidenum">
              <a:rPr lang="en-GB">
                <a:solidFill>
                  <a:schemeClr val="tx1"/>
                </a:solidFill>
              </a:rPr>
              <a:pPr/>
              <a:t>11</a:t>
            </a:fld>
            <a:endParaRPr lang="en-GB">
              <a:solidFill>
                <a:schemeClr val="tx1"/>
              </a:solidFill>
            </a:endParaRPr>
          </a:p>
        </p:txBody>
      </p:sp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4213"/>
            <a:ext cx="7772400" cy="1160462"/>
          </a:xfrm>
          <a:ln/>
        </p:spPr>
        <p:txBody>
          <a:bodyPr lIns="90000" tIns="46800" rIns="90000" bIns="46800"/>
          <a:lstStyle/>
          <a:p>
            <a:r>
              <a:rPr lang="en-GB" dirty="0" smtClean="0">
                <a:solidFill>
                  <a:schemeClr val="tx1"/>
                </a:solidFill>
              </a:rPr>
              <a:t>Proposed changes </a:t>
            </a:r>
            <a:r>
              <a:rPr lang="en-GB" dirty="0">
                <a:solidFill>
                  <a:schemeClr val="tx1"/>
                </a:solidFill>
              </a:rPr>
              <a:t>to </a:t>
            </a:r>
            <a:r>
              <a:rPr lang="en-GB" dirty="0" smtClean="0">
                <a:solidFill>
                  <a:schemeClr val="tx1"/>
                </a:solidFill>
              </a:rPr>
              <a:t>11ay use case document [3]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3568" y="2204865"/>
            <a:ext cx="7772400" cy="3456384"/>
          </a:xfrm>
          <a:ln/>
        </p:spPr>
        <p:txBody>
          <a:bodyPr/>
          <a:lstStyle/>
          <a:p>
            <a:pPr marL="285750" indent="-285750">
              <a:spcAft>
                <a:spcPts val="1200"/>
              </a:spcAft>
              <a:buFont typeface="Arial" charset="0"/>
              <a:buChar char="•"/>
            </a:pPr>
            <a:r>
              <a:rPr lang="en-US" b="0" dirty="0"/>
              <a:t>The authors of this presentation request </a:t>
            </a:r>
            <a:r>
              <a:rPr lang="en-US" b="0" dirty="0" err="1" smtClean="0"/>
              <a:t>TGay</a:t>
            </a:r>
            <a:r>
              <a:rPr lang="en-US" b="0" dirty="0" smtClean="0"/>
              <a:t> to </a:t>
            </a:r>
            <a:r>
              <a:rPr lang="en-US" b="0" dirty="0"/>
              <a:t>agree on the sketched use </a:t>
            </a:r>
            <a:r>
              <a:rPr lang="en-US" b="0" dirty="0" smtClean="0"/>
              <a:t>cases for </a:t>
            </a:r>
            <a:r>
              <a:rPr lang="en-US" b="0" dirty="0"/>
              <a:t>“</a:t>
            </a:r>
            <a:r>
              <a:rPr lang="en-US" b="0" dirty="0" err="1"/>
              <a:t>mmWave</a:t>
            </a:r>
            <a:r>
              <a:rPr lang="en-US" b="0" dirty="0"/>
              <a:t> </a:t>
            </a:r>
            <a:r>
              <a:rPr lang="en-US" b="0" dirty="0" smtClean="0"/>
              <a:t>distribution network</a:t>
            </a:r>
            <a:r>
              <a:rPr lang="en-US" b="0" dirty="0"/>
              <a:t>” as a valid use case for 802.11ay that should be added to the 11ay use cases.</a:t>
            </a:r>
          </a:p>
          <a:p>
            <a:pPr marL="285750" indent="-285750">
              <a:spcAft>
                <a:spcPts val="1200"/>
              </a:spcAft>
              <a:buFont typeface="Arial" charset="0"/>
              <a:buChar char="•"/>
            </a:pPr>
            <a:r>
              <a:rPr lang="en-US" b="0" dirty="0"/>
              <a:t>The authors of this presentation propose to add a corresponding </a:t>
            </a:r>
            <a:r>
              <a:rPr lang="en-US" b="0" dirty="0" smtClean="0"/>
              <a:t>usage model description (slides 8-10) </a:t>
            </a:r>
            <a:r>
              <a:rPr lang="en-US" b="0" dirty="0"/>
              <a:t>to the 802.11ay use case document IEEE 802.11-15/0625r3 “IEEE 802.11 </a:t>
            </a:r>
            <a:r>
              <a:rPr lang="en-US" b="0" dirty="0" err="1"/>
              <a:t>TGay</a:t>
            </a:r>
            <a:r>
              <a:rPr lang="en-US" b="0" dirty="0"/>
              <a:t> Use Cases</a:t>
            </a:r>
            <a:r>
              <a:rPr lang="en-US" b="0" dirty="0" smtClean="0"/>
              <a:t>” </a:t>
            </a:r>
            <a:r>
              <a:rPr lang="en-US" b="0" dirty="0"/>
              <a:t>[3</a:t>
            </a:r>
            <a:r>
              <a:rPr lang="en-US" b="0" dirty="0" smtClean="0"/>
              <a:t>] by replacing existing Usage Model 8 which is considered as subset of </a:t>
            </a:r>
            <a:r>
              <a:rPr lang="en-US" b="0" dirty="0" err="1" smtClean="0"/>
              <a:t>mmWave</a:t>
            </a:r>
            <a:r>
              <a:rPr lang="en-US" b="0" dirty="0" smtClean="0"/>
              <a:t> distribution Usage Model.</a:t>
            </a:r>
            <a:endParaRPr lang="en-US" b="0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</p:spTree>
    <p:extLst>
      <p:ext uri="{BB962C8B-B14F-4D97-AF65-F5344CB8AC3E}">
        <p14:creationId xmlns:p14="http://schemas.microsoft.com/office/powerpoint/2010/main" val="216241657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DC83D890-10BB-4905-98E9-EC5FFEC1B9BB}" type="slidenum">
              <a:rPr lang="en-GB"/>
              <a:pPr/>
              <a:t>12</a:t>
            </a:fld>
            <a:endParaRPr lang="en-GB"/>
          </a:p>
        </p:txBody>
      </p:sp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4213"/>
            <a:ext cx="7772400" cy="1160462"/>
          </a:xfrm>
          <a:ln/>
        </p:spPr>
        <p:txBody>
          <a:bodyPr lIns="90000" tIns="46800" rIns="90000" bIns="46800"/>
          <a:lstStyle/>
          <a:p>
            <a:r>
              <a:rPr lang="en-GB" dirty="0"/>
              <a:t>Summary</a:t>
            </a:r>
            <a:endParaRPr lang="en-US" dirty="0"/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1772816"/>
            <a:ext cx="7772400" cy="4208463"/>
          </a:xfrm>
          <a:ln/>
        </p:spPr>
        <p:txBody>
          <a:bodyPr/>
          <a:lstStyle/>
          <a:p>
            <a:pPr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b="0" dirty="0">
                <a:solidFill>
                  <a:schemeClr val="tx1"/>
                </a:solidFill>
              </a:rPr>
              <a:t>Proposed </a:t>
            </a:r>
            <a:r>
              <a:rPr lang="en-GB" b="0" dirty="0" err="1">
                <a:solidFill>
                  <a:schemeClr val="tx1"/>
                </a:solidFill>
              </a:rPr>
              <a:t>mmWave</a:t>
            </a:r>
            <a:r>
              <a:rPr lang="en-GB" b="0" dirty="0">
                <a:solidFill>
                  <a:schemeClr val="tx1"/>
                </a:solidFill>
              </a:rPr>
              <a:t> distribution </a:t>
            </a:r>
            <a:r>
              <a:rPr lang="en-GB" b="0" dirty="0" smtClean="0">
                <a:solidFill>
                  <a:schemeClr val="tx1"/>
                </a:solidFill>
              </a:rPr>
              <a:t>network usage model covers </a:t>
            </a:r>
            <a:r>
              <a:rPr lang="en-GB" b="0" dirty="0" smtClean="0"/>
              <a:t>three deployment scenarios</a:t>
            </a:r>
            <a:r>
              <a:rPr lang="en-GB" b="0" dirty="0" smtClean="0">
                <a:solidFill>
                  <a:schemeClr val="tx1"/>
                </a:solidFill>
              </a:rPr>
              <a:t>: </a:t>
            </a:r>
          </a:p>
          <a:p>
            <a:pPr marL="808038" lvl="1"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 err="1" smtClean="0">
                <a:solidFill>
                  <a:schemeClr val="tx1"/>
                </a:solidFill>
              </a:rPr>
              <a:t>mmWave</a:t>
            </a:r>
            <a:r>
              <a:rPr lang="en-GB" dirty="0" smtClean="0">
                <a:solidFill>
                  <a:schemeClr val="tx1"/>
                </a:solidFill>
              </a:rPr>
              <a:t>-based broadband home access (WTTH) </a:t>
            </a:r>
          </a:p>
          <a:p>
            <a:pPr marL="808038" lvl="1"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 err="1">
                <a:solidFill>
                  <a:schemeClr val="tx1"/>
                </a:solidFill>
              </a:rPr>
              <a:t>mmWave</a:t>
            </a:r>
            <a:r>
              <a:rPr lang="en-GB" dirty="0">
                <a:solidFill>
                  <a:schemeClr val="tx1"/>
                </a:solidFill>
              </a:rPr>
              <a:t>-based </a:t>
            </a:r>
            <a:r>
              <a:rPr lang="en-GB" dirty="0" smtClean="0">
                <a:solidFill>
                  <a:schemeClr val="tx1"/>
                </a:solidFill>
              </a:rPr>
              <a:t>broadband building access </a:t>
            </a:r>
            <a:r>
              <a:rPr lang="en-GB" dirty="0">
                <a:solidFill>
                  <a:schemeClr val="tx1"/>
                </a:solidFill>
              </a:rPr>
              <a:t>(</a:t>
            </a:r>
            <a:r>
              <a:rPr lang="en-GB" dirty="0" smtClean="0">
                <a:solidFill>
                  <a:schemeClr val="tx1"/>
                </a:solidFill>
              </a:rPr>
              <a:t>WTTB) </a:t>
            </a:r>
            <a:endParaRPr lang="en-GB" dirty="0">
              <a:solidFill>
                <a:schemeClr val="tx1"/>
              </a:solidFill>
            </a:endParaRPr>
          </a:p>
          <a:p>
            <a:pPr marL="808038" lvl="1"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>
                <a:solidFill>
                  <a:schemeClr val="tx1"/>
                </a:solidFill>
              </a:rPr>
              <a:t>Wi-Fi </a:t>
            </a:r>
            <a:r>
              <a:rPr lang="en-GB" dirty="0" smtClean="0">
                <a:solidFill>
                  <a:schemeClr val="tx1"/>
                </a:solidFill>
              </a:rPr>
              <a:t>AP &amp; </a:t>
            </a:r>
            <a:r>
              <a:rPr lang="en-GB" b="0" dirty="0" smtClean="0">
                <a:solidFill>
                  <a:schemeClr val="tx1"/>
                </a:solidFill>
              </a:rPr>
              <a:t>Small Cell backhaul</a:t>
            </a:r>
            <a:endParaRPr lang="en-GB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b="0" dirty="0" smtClean="0"/>
              <a:t>A description of the </a:t>
            </a:r>
            <a:r>
              <a:rPr lang="en-GB" b="0" dirty="0" err="1" smtClean="0"/>
              <a:t>mmWave</a:t>
            </a:r>
            <a:r>
              <a:rPr lang="en-GB" b="0" dirty="0" smtClean="0"/>
              <a:t> distribution network usage model should be added </a:t>
            </a:r>
            <a:r>
              <a:rPr lang="en-US" b="0" dirty="0"/>
              <a:t>to the 802.11ay use case document IEEE 802.11-15/0625r3 “IEEE 802.11 </a:t>
            </a:r>
            <a:r>
              <a:rPr lang="en-US" b="0" dirty="0" err="1"/>
              <a:t>TGay</a:t>
            </a:r>
            <a:r>
              <a:rPr lang="en-US" b="0" dirty="0"/>
              <a:t> Use Cases</a:t>
            </a:r>
            <a:r>
              <a:rPr lang="en-US" b="0" dirty="0" smtClean="0"/>
              <a:t>”[</a:t>
            </a:r>
            <a:r>
              <a:rPr lang="en-US" b="0" dirty="0"/>
              <a:t>3].</a:t>
            </a:r>
            <a:endParaRPr lang="en-US" dirty="0"/>
          </a:p>
          <a:p>
            <a:pPr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b="0" dirty="0" smtClean="0">
                <a:solidFill>
                  <a:schemeClr val="tx1"/>
                </a:solidFill>
              </a:rPr>
              <a:t>802.11ay related requirements </a:t>
            </a:r>
            <a:r>
              <a:rPr lang="en-GB" b="0" dirty="0" smtClean="0"/>
              <a:t>for the </a:t>
            </a:r>
            <a:r>
              <a:rPr lang="en-GB" b="0" dirty="0" err="1" smtClean="0"/>
              <a:t>mmWave</a:t>
            </a:r>
            <a:r>
              <a:rPr lang="en-GB" b="0" dirty="0" smtClean="0"/>
              <a:t> distribution network architecture will be derived for the above mentioned use case and presented to </a:t>
            </a:r>
            <a:r>
              <a:rPr lang="en-GB" b="0" dirty="0" err="1" smtClean="0"/>
              <a:t>TGay</a:t>
            </a:r>
            <a:r>
              <a:rPr lang="en-GB" b="0" dirty="0" smtClean="0"/>
              <a:t>. </a:t>
            </a:r>
          </a:p>
          <a:p>
            <a:pPr marL="0" indent="0"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b="0" dirty="0"/>
          </a:p>
          <a:p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</p:spTree>
    <p:extLst>
      <p:ext uri="{BB962C8B-B14F-4D97-AF65-F5344CB8AC3E}">
        <p14:creationId xmlns:p14="http://schemas.microsoft.com/office/powerpoint/2010/main" val="94877070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aw</a:t>
            </a:r>
            <a:r>
              <a:rPr lang="de-DE" dirty="0" smtClean="0"/>
              <a:t> Poll #1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smtClean="0"/>
              <a:t>Slide </a:t>
            </a:r>
            <a:fld id="{440F5867-744E-4AA6-B0ED-4C44D2DFBB7B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754187"/>
            <a:ext cx="8458200" cy="4113213"/>
          </a:xfrm>
        </p:spPr>
        <p:txBody>
          <a:bodyPr/>
          <a:lstStyle/>
          <a:p>
            <a:pPr marL="0" indent="0"/>
            <a:r>
              <a:rPr lang="en-US" dirty="0" smtClean="0"/>
              <a:t>Do you support replacing Usage Model </a:t>
            </a:r>
            <a:r>
              <a:rPr lang="en-US" dirty="0"/>
              <a:t>8 </a:t>
            </a:r>
            <a:r>
              <a:rPr lang="en-US" dirty="0" smtClean="0"/>
              <a:t>in document IEEE </a:t>
            </a:r>
            <a:r>
              <a:rPr lang="en-US" dirty="0"/>
              <a:t>802.11-15/0625r3 by </a:t>
            </a:r>
            <a:r>
              <a:rPr lang="en-US" dirty="0" smtClean="0"/>
              <a:t>the description of usage model “</a:t>
            </a:r>
            <a:r>
              <a:rPr lang="en-US" dirty="0" err="1" smtClean="0"/>
              <a:t>mmWave</a:t>
            </a:r>
            <a:r>
              <a:rPr lang="en-US" dirty="0" smtClean="0"/>
              <a:t> distribution </a:t>
            </a:r>
            <a:r>
              <a:rPr lang="en-US" dirty="0"/>
              <a:t>network” (slides 8-10</a:t>
            </a:r>
            <a:r>
              <a:rPr lang="en-US" dirty="0" smtClean="0"/>
              <a:t>)?</a:t>
            </a:r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Yes:</a:t>
            </a:r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No:</a:t>
            </a:r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Abstain: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5064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531D307C-65C7-4BB3-B44A-1501D36803F7}" type="slidenum">
              <a:rPr lang="en-GB"/>
              <a:pPr/>
              <a:t>14</a:t>
            </a:fld>
            <a:endParaRPr lang="en-GB"/>
          </a:p>
        </p:txBody>
      </p:sp>
      <p:sp>
        <p:nvSpPr>
          <p:cNvPr id="11265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5800"/>
            <a:ext cx="7772400" cy="1066800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/>
              <a:t>Referenc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611560" y="1772816"/>
            <a:ext cx="7992888" cy="43924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r>
              <a:rPr lang="en-US" sz="1400" b="0" kern="0" dirty="0" smtClean="0"/>
              <a:t>[1] IEEE Standards Association: </a:t>
            </a:r>
            <a:r>
              <a:rPr lang="de-DE" sz="1400" b="0" kern="0" dirty="0" smtClean="0"/>
              <a:t>IEEE P802.11ad™, </a:t>
            </a:r>
            <a:r>
              <a:rPr lang="en-US" sz="1400" b="0" kern="0" dirty="0"/>
              <a:t>“Standard for Information Technology – Telecommunications and Information Exchange Between Systems – Local and Metropolitan Area 12 Networks – Specific Requirements – Part 11: Wireless LAN Medium Access Control (MAC) and Physical Layer (PHY) Specifications – Amendment 3: Enhancements </a:t>
            </a:r>
            <a:r>
              <a:rPr lang="en-US" sz="1400" b="0" kern="0" dirty="0" smtClean="0"/>
              <a:t>for Very </a:t>
            </a:r>
            <a:r>
              <a:rPr lang="en-US" sz="1400" b="0" kern="0" dirty="0"/>
              <a:t>High Throughput in the 60 GHz Band”, </a:t>
            </a:r>
            <a:r>
              <a:rPr lang="de-DE" sz="1400" b="0" kern="0" dirty="0" smtClean="0"/>
              <a:t>2012</a:t>
            </a:r>
            <a:r>
              <a:rPr lang="en-US" sz="1400" b="0" kern="0" dirty="0" smtClean="0"/>
              <a:t>.</a:t>
            </a:r>
          </a:p>
          <a:p>
            <a:endParaRPr lang="en-US" sz="1400" b="0" kern="0" dirty="0" smtClean="0"/>
          </a:p>
          <a:p>
            <a:r>
              <a:rPr lang="en-US" sz="1400" b="0" kern="0" dirty="0" smtClean="0"/>
              <a:t>[2] IEEE Standards Association: </a:t>
            </a:r>
            <a:r>
              <a:rPr lang="de-DE" sz="1400" b="0" kern="0" dirty="0" smtClean="0"/>
              <a:t>IEEE Std 802.11s™, </a:t>
            </a:r>
            <a:r>
              <a:rPr lang="en-US" sz="1400" b="0" kern="0" dirty="0" smtClean="0"/>
              <a:t>“IEEE </a:t>
            </a:r>
            <a:r>
              <a:rPr lang="en-US" sz="1400" b="0" kern="0" dirty="0"/>
              <a:t>Standard for Information </a:t>
            </a:r>
            <a:r>
              <a:rPr lang="en-US" sz="1400" b="0" kern="0" dirty="0" smtClean="0"/>
              <a:t>Technology – Telecommunications </a:t>
            </a:r>
            <a:r>
              <a:rPr lang="en-US" sz="1400" b="0" kern="0" dirty="0"/>
              <a:t>and information </a:t>
            </a:r>
            <a:r>
              <a:rPr lang="en-US" sz="1400" b="0" kern="0" dirty="0" smtClean="0"/>
              <a:t>exchange between systems</a:t>
            </a:r>
            <a:r>
              <a:rPr lang="en-US" sz="1400" b="0" kern="0" dirty="0"/>
              <a:t> – </a:t>
            </a:r>
            <a:r>
              <a:rPr lang="en-US" sz="1400" b="0" kern="0" dirty="0" smtClean="0"/>
              <a:t>Local </a:t>
            </a:r>
            <a:r>
              <a:rPr lang="en-US" sz="1400" b="0" kern="0" dirty="0"/>
              <a:t>and metropolitan area </a:t>
            </a:r>
            <a:r>
              <a:rPr lang="en-US" sz="1400" b="0" kern="0" dirty="0" smtClean="0"/>
              <a:t>networks</a:t>
            </a:r>
            <a:r>
              <a:rPr lang="en-US" sz="1400" b="0" kern="0" dirty="0"/>
              <a:t> – </a:t>
            </a:r>
            <a:r>
              <a:rPr lang="en-US" sz="1400" b="0" kern="0" dirty="0" smtClean="0"/>
              <a:t>Specific requirements – Part </a:t>
            </a:r>
            <a:r>
              <a:rPr lang="en-US" sz="1400" b="0" kern="0" dirty="0"/>
              <a:t>11: Wireless LAN Medium Access Control (MAC) and Physical Layer (PHY) </a:t>
            </a:r>
            <a:r>
              <a:rPr lang="en-US" sz="1400" b="0" kern="0" dirty="0" smtClean="0"/>
              <a:t>specifications </a:t>
            </a:r>
            <a:r>
              <a:rPr lang="en-US" sz="1400" b="0" kern="0" dirty="0"/>
              <a:t> – </a:t>
            </a:r>
            <a:r>
              <a:rPr lang="en-US" sz="1400" b="0" kern="0" dirty="0" smtClean="0"/>
              <a:t> </a:t>
            </a:r>
            <a:r>
              <a:rPr lang="en-US" sz="1400" b="0" kern="0" dirty="0"/>
              <a:t>Amendment 10: Mesh </a:t>
            </a:r>
            <a:r>
              <a:rPr lang="en-US" sz="1400" b="0" kern="0" dirty="0" smtClean="0"/>
              <a:t>Networking”, </a:t>
            </a:r>
            <a:r>
              <a:rPr lang="de-DE" sz="1400" b="0" kern="0" dirty="0" smtClean="0"/>
              <a:t>2011</a:t>
            </a:r>
            <a:r>
              <a:rPr lang="en-US" sz="1400" b="0" kern="0" dirty="0" smtClean="0"/>
              <a:t>.</a:t>
            </a:r>
          </a:p>
          <a:p>
            <a:endParaRPr lang="en-US" sz="1400" b="0" kern="0" dirty="0"/>
          </a:p>
          <a:p>
            <a:r>
              <a:rPr lang="en-US" sz="1400" b="0" kern="0" dirty="0"/>
              <a:t>[3] IEEE </a:t>
            </a:r>
            <a:r>
              <a:rPr lang="en-US" sz="1400" b="0" kern="0" dirty="0" smtClean="0"/>
              <a:t>802.11-15/0625r3 “IEEE </a:t>
            </a:r>
            <a:r>
              <a:rPr lang="en-US" sz="1400" b="0" kern="0" dirty="0"/>
              <a:t>802.11 </a:t>
            </a:r>
            <a:r>
              <a:rPr lang="en-US" sz="1400" b="0" kern="0" dirty="0" err="1"/>
              <a:t>TGay</a:t>
            </a:r>
            <a:r>
              <a:rPr lang="en-US" sz="1400" b="0" kern="0" dirty="0"/>
              <a:t> Use </a:t>
            </a:r>
            <a:r>
              <a:rPr lang="en-US" sz="1400" b="0" kern="0" dirty="0" smtClean="0"/>
              <a:t>Cases”</a:t>
            </a:r>
          </a:p>
          <a:p>
            <a:endParaRPr lang="en-US" sz="1400" b="0" kern="0" dirty="0"/>
          </a:p>
          <a:p>
            <a:r>
              <a:rPr lang="en-US" sz="1400" b="0" kern="0" dirty="0" smtClean="0"/>
              <a:t>[4] </a:t>
            </a:r>
            <a:r>
              <a:rPr lang="en-US" sz="1400" b="0" kern="0" dirty="0"/>
              <a:t>Challenges for Optical Wireless: An Operator’s Perspective. </a:t>
            </a:r>
            <a:r>
              <a:rPr lang="en-US" sz="1400" b="0" kern="0" dirty="0" smtClean="0"/>
              <a:t>Behrens</a:t>
            </a:r>
            <a:r>
              <a:rPr lang="en-US" sz="1400" b="0" kern="0" dirty="0"/>
              <a:t>, C.; Lange, C.; Gladisch, A</a:t>
            </a:r>
            <a:r>
              <a:rPr lang="en-US" sz="1400" b="0" kern="0" dirty="0" smtClean="0"/>
              <a:t>.: Optical </a:t>
            </a:r>
            <a:r>
              <a:rPr lang="en-US" sz="1400" b="0" kern="0" dirty="0"/>
              <a:t>Fiber Communications Conference (OFC). Workshop: Optical Wireless – Can it Become a Gigabit Wireless Alternative? –</a:t>
            </a:r>
            <a:r>
              <a:rPr lang="en-US" sz="1400" b="0" kern="0" dirty="0" smtClean="0"/>
              <a:t> </a:t>
            </a:r>
            <a:r>
              <a:rPr lang="en-US" sz="1400" b="0" kern="0" dirty="0"/>
              <a:t>Capabilities, Opportunities, Challenges and Threats, Los Angeles (CA, USA), March 19–23, 2017</a:t>
            </a:r>
          </a:p>
          <a:p>
            <a:endParaRPr lang="en-US" sz="1400" b="0" kern="0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DC83D890-10BB-4905-98E9-EC5FFEC1B9BB}" type="slidenum">
              <a:rPr lang="en-GB"/>
              <a:pPr/>
              <a:t>15</a:t>
            </a:fld>
            <a:endParaRPr lang="en-GB"/>
          </a:p>
        </p:txBody>
      </p:sp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4213"/>
            <a:ext cx="7772400" cy="1160462"/>
          </a:xfrm>
          <a:ln/>
        </p:spPr>
        <p:txBody>
          <a:bodyPr lIns="90000" tIns="46800" rIns="90000" bIns="46800"/>
          <a:lstStyle/>
          <a:p>
            <a:r>
              <a:rPr lang="en-GB" dirty="0" smtClean="0"/>
              <a:t>Abbreviations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8" name="Shape 212"/>
          <p:cNvSpPr txBox="1"/>
          <p:nvPr/>
        </p:nvSpPr>
        <p:spPr>
          <a:xfrm>
            <a:off x="4860032" y="1844824"/>
            <a:ext cx="3672408" cy="453650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oP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	Point of Presence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tMP	Point to Multipoint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Qo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	Quality of Experience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Qo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	Quality of Service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RGW	Residential Gateway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RTT	Round Trip Time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C	Small Cell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BH	Wireless Backhaul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LAN	Wireless Local Area Network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TTB	Wireless to the Building</a:t>
            </a:r>
            <a:endParaRPr lang="en-US" sz="800" kern="0" dirty="0" smtClea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TTH	Wireless to the Home</a:t>
            </a:r>
            <a:endParaRPr lang="en-US" sz="8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Shape 212"/>
          <p:cNvSpPr txBox="1"/>
          <p:nvPr/>
        </p:nvSpPr>
        <p:spPr>
          <a:xfrm>
            <a:off x="586680" y="1844824"/>
            <a:ext cx="3985320" cy="453650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P	Access Point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H	Backhaul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/I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	Confidentiality/Integrity</a:t>
            </a:r>
            <a:endParaRPr lang="en-US" sz="1200" kern="0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L	Downlink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N	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Distribution Node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IRP	Equivalent 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sotropically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Radiated Power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MC	Electromagnetic Compatibility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TTH	Fiber to the Home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WA	Fixed-Wireless Access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OS	Line of Sight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NLOS	Non-Light of Sight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NT	Network Termination</a:t>
            </a:r>
          </a:p>
        </p:txBody>
      </p:sp>
    </p:spTree>
    <p:extLst>
      <p:ext uri="{BB962C8B-B14F-4D97-AF65-F5344CB8AC3E}">
        <p14:creationId xmlns:p14="http://schemas.microsoft.com/office/powerpoint/2010/main" val="61426350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351F4386-A5E2-41A1-B4D0-BE653C929E06}" type="slidenum">
              <a:rPr lang="en-GB"/>
              <a:pPr/>
              <a:t>2</a:t>
            </a:fld>
            <a:endParaRPr lang="en-GB"/>
          </a:p>
        </p:txBody>
      </p:sp>
      <p:sp>
        <p:nvSpPr>
          <p:cNvPr id="4097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5800"/>
            <a:ext cx="7772400" cy="1066800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dirty="0"/>
              <a:t>Abstract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1700808"/>
            <a:ext cx="7918648" cy="4467200"/>
          </a:xfrm>
          <a:ln/>
        </p:spPr>
        <p:txBody>
          <a:bodyPr/>
          <a:lstStyle/>
          <a:p>
            <a:pPr marL="0" indent="0"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>
                <a:solidFill>
                  <a:schemeClr val="tx1"/>
                </a:solidFill>
              </a:rPr>
              <a:t>This presentation </a:t>
            </a:r>
            <a:r>
              <a:rPr lang="en-GB" dirty="0" smtClean="0">
                <a:solidFill>
                  <a:schemeClr val="tx1"/>
                </a:solidFill>
              </a:rPr>
              <a:t>describes a use case </a:t>
            </a:r>
            <a:r>
              <a:rPr lang="en-GB" dirty="0">
                <a:solidFill>
                  <a:schemeClr val="tx1"/>
                </a:solidFill>
              </a:rPr>
              <a:t>for </a:t>
            </a:r>
            <a:r>
              <a:rPr lang="en-GB" dirty="0" smtClean="0">
                <a:solidFill>
                  <a:schemeClr val="tx1"/>
                </a:solidFill>
              </a:rPr>
              <a:t>a </a:t>
            </a:r>
            <a:r>
              <a:rPr lang="en-GB" dirty="0" err="1" smtClean="0">
                <a:solidFill>
                  <a:schemeClr val="tx1"/>
                </a:solidFill>
              </a:rPr>
              <a:t>mmWave</a:t>
            </a:r>
            <a:r>
              <a:rPr lang="en-GB" dirty="0">
                <a:solidFill>
                  <a:schemeClr val="tx1"/>
                </a:solidFill>
              </a:rPr>
              <a:t> </a:t>
            </a:r>
            <a:r>
              <a:rPr lang="en-GB" dirty="0" smtClean="0">
                <a:solidFill>
                  <a:schemeClr val="tx1"/>
                </a:solidFill>
              </a:rPr>
              <a:t>distribution network that can be applied in </a:t>
            </a:r>
            <a:r>
              <a:rPr lang="en-GB" dirty="0">
                <a:solidFill>
                  <a:schemeClr val="tx1"/>
                </a:solidFill>
              </a:rPr>
              <a:t>different </a:t>
            </a:r>
            <a:r>
              <a:rPr lang="en-GB" dirty="0" smtClean="0">
                <a:solidFill>
                  <a:schemeClr val="tx1"/>
                </a:solidFill>
              </a:rPr>
              <a:t>deployment scenarios:</a:t>
            </a:r>
            <a:endParaRPr lang="en-GB" dirty="0">
              <a:solidFill>
                <a:schemeClr val="tx1"/>
              </a:solidFill>
            </a:endParaRPr>
          </a:p>
          <a:p>
            <a:pPr marL="541338"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 smtClean="0">
                <a:solidFill>
                  <a:schemeClr val="tx1"/>
                </a:solidFill>
              </a:rPr>
              <a:t>Broadband residential access (WTTB, WTTH)</a:t>
            </a:r>
          </a:p>
          <a:p>
            <a:pPr marL="541338"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 smtClean="0">
                <a:solidFill>
                  <a:schemeClr val="tx1"/>
                </a:solidFill>
              </a:rPr>
              <a:t>Wi-Fi </a:t>
            </a:r>
            <a:r>
              <a:rPr lang="en-GB" dirty="0">
                <a:solidFill>
                  <a:schemeClr val="tx1"/>
                </a:solidFill>
              </a:rPr>
              <a:t>AP </a:t>
            </a:r>
            <a:r>
              <a:rPr lang="en-GB" dirty="0" smtClean="0">
                <a:solidFill>
                  <a:schemeClr val="tx1"/>
                </a:solidFill>
              </a:rPr>
              <a:t>&amp; Small cell backhaul </a:t>
            </a:r>
            <a:endParaRPr lang="en-GB" dirty="0">
              <a:solidFill>
                <a:schemeClr val="tx1"/>
              </a:solidFill>
            </a:endParaRPr>
          </a:p>
          <a:p>
            <a:pPr marL="0" indent="0"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dirty="0" smtClean="0">
              <a:solidFill>
                <a:schemeClr val="tx1"/>
              </a:solidFill>
            </a:endParaRPr>
          </a:p>
          <a:p>
            <a:pPr marL="0" indent="0"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 smtClean="0">
                <a:solidFill>
                  <a:schemeClr val="tx1"/>
                </a:solidFill>
              </a:rPr>
              <a:t>It is proposed to </a:t>
            </a:r>
            <a:r>
              <a:rPr lang="en-GB" dirty="0">
                <a:solidFill>
                  <a:schemeClr val="tx1"/>
                </a:solidFill>
              </a:rPr>
              <a:t>add </a:t>
            </a:r>
            <a:r>
              <a:rPr lang="en-GB" dirty="0" smtClean="0">
                <a:solidFill>
                  <a:schemeClr val="tx1"/>
                </a:solidFill>
              </a:rPr>
              <a:t>a usage model on </a:t>
            </a:r>
            <a:r>
              <a:rPr lang="en-GB" dirty="0" err="1" smtClean="0">
                <a:solidFill>
                  <a:schemeClr val="tx1"/>
                </a:solidFill>
              </a:rPr>
              <a:t>mmWave</a:t>
            </a:r>
            <a:r>
              <a:rPr lang="en-GB" dirty="0" smtClean="0">
                <a:solidFill>
                  <a:schemeClr val="tx1"/>
                </a:solidFill>
              </a:rPr>
              <a:t> Distribution network to </a:t>
            </a:r>
            <a:r>
              <a:rPr lang="en-GB" dirty="0">
                <a:solidFill>
                  <a:schemeClr val="tx1"/>
                </a:solidFill>
              </a:rPr>
              <a:t>the 802.11ay use case document.  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8" name="Footer Placeholder 4"/>
          <p:cNvSpPr txBox="1">
            <a:spLocks/>
          </p:cNvSpPr>
          <p:nvPr/>
        </p:nvSpPr>
        <p:spPr bwMode="auto">
          <a:xfrm>
            <a:off x="5868144" y="5816803"/>
            <a:ext cx="1872208" cy="348501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kern="1200">
                <a:solidFill>
                  <a:srgbClr val="000000"/>
                </a:solidFill>
                <a:latin typeface="Times New Roman" pitchFamily="16" charset="0"/>
                <a:ea typeface="MS Gothic" charset="-128"/>
                <a:cs typeface="Arial Unicode MS" charset="0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l"/>
            <a:r>
              <a:rPr lang="en-GB" sz="1000" dirty="0" smtClean="0">
                <a:solidFill>
                  <a:schemeClr val="tx1"/>
                </a:solidFill>
              </a:rPr>
              <a:t>WTTH: Wireless Ro The Home</a:t>
            </a:r>
          </a:p>
          <a:p>
            <a:pPr algn="l"/>
            <a:r>
              <a:rPr lang="en-GB" sz="1000" dirty="0" smtClean="0">
                <a:solidFill>
                  <a:schemeClr val="tx1"/>
                </a:solidFill>
              </a:rPr>
              <a:t>WTTB: Wireless To The Building</a:t>
            </a:r>
            <a:endParaRPr lang="en-GB" sz="10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B3165115-9078-433B-A278-1F5ED971F63A}" type="slidenum">
              <a:rPr lang="en-GB"/>
              <a:pPr/>
              <a:t>3</a:t>
            </a:fld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3792" y="1556792"/>
            <a:ext cx="8062664" cy="4689277"/>
          </a:xfrm>
        </p:spPr>
        <p:txBody>
          <a:bodyPr/>
          <a:lstStyle/>
          <a:p>
            <a:pPr>
              <a:buFont typeface="Times New Roman" pitchFamily="16" charset="0"/>
              <a:buChar char="•"/>
            </a:pPr>
            <a:r>
              <a:rPr lang="en-GB" sz="2000" dirty="0" err="1" smtClean="0">
                <a:solidFill>
                  <a:schemeClr val="tx1"/>
                </a:solidFill>
              </a:rPr>
              <a:t>mmWave</a:t>
            </a:r>
            <a:r>
              <a:rPr lang="en-GB" sz="2000" dirty="0" smtClean="0">
                <a:solidFill>
                  <a:schemeClr val="tx1"/>
                </a:solidFill>
              </a:rPr>
              <a:t> Distribution </a:t>
            </a:r>
            <a:r>
              <a:rPr lang="en-GB" sz="2000" dirty="0">
                <a:solidFill>
                  <a:schemeClr val="tx1"/>
                </a:solidFill>
              </a:rPr>
              <a:t>N</a:t>
            </a:r>
            <a:r>
              <a:rPr lang="en-GB" sz="2000" dirty="0" smtClean="0">
                <a:solidFill>
                  <a:schemeClr val="tx1"/>
                </a:solidFill>
              </a:rPr>
              <a:t>etworks exhibit a promising cost-efficient high-performance alternative and/or complement to conventional fixed access networks.</a:t>
            </a:r>
          </a:p>
          <a:p>
            <a:pPr>
              <a:buFont typeface="Times New Roman" pitchFamily="16" charset="0"/>
              <a:buChar char="•"/>
            </a:pPr>
            <a:r>
              <a:rPr lang="en-GB" sz="2000" dirty="0" smtClean="0">
                <a:solidFill>
                  <a:schemeClr val="tx1"/>
                </a:solidFill>
              </a:rPr>
              <a:t>In comparison to usage model 8, the extended scope is on wireless distribution networks and fixed wireless access, besides Small cell &amp; </a:t>
            </a:r>
            <a:r>
              <a:rPr lang="en-GB" sz="2000" dirty="0" err="1" smtClean="0">
                <a:solidFill>
                  <a:schemeClr val="tx1"/>
                </a:solidFill>
              </a:rPr>
              <a:t>WiFi</a:t>
            </a:r>
            <a:r>
              <a:rPr lang="en-GB" sz="2000" dirty="0" smtClean="0">
                <a:solidFill>
                  <a:schemeClr val="tx1"/>
                </a:solidFill>
              </a:rPr>
              <a:t> AP BH.</a:t>
            </a:r>
            <a:endParaRPr lang="en-GB" sz="2000" dirty="0">
              <a:solidFill>
                <a:schemeClr val="tx1"/>
              </a:solidFill>
            </a:endParaRPr>
          </a:p>
          <a:p>
            <a:pPr>
              <a:buFont typeface="Times New Roman" pitchFamily="16" charset="0"/>
              <a:buChar char="•"/>
            </a:pPr>
            <a:r>
              <a:rPr lang="en-US" sz="2000" dirty="0"/>
              <a:t>Adaptive </a:t>
            </a:r>
            <a:r>
              <a:rPr lang="en-US" sz="2000" dirty="0" err="1"/>
              <a:t>PtMP</a:t>
            </a:r>
            <a:r>
              <a:rPr lang="en-US" sz="2000" dirty="0"/>
              <a:t> approach and </a:t>
            </a:r>
            <a:r>
              <a:rPr lang="en-US" sz="2000" dirty="0" smtClean="0"/>
              <a:t>mesh </a:t>
            </a:r>
            <a:r>
              <a:rPr lang="en-US" sz="2000" dirty="0"/>
              <a:t>functionality required, as changing LOS conditions for single links can cause problems.</a:t>
            </a:r>
            <a:endParaRPr lang="en-GB" sz="2000" dirty="0">
              <a:solidFill>
                <a:schemeClr val="tx1"/>
              </a:solidFill>
            </a:endParaRPr>
          </a:p>
          <a:p>
            <a:pPr>
              <a:buFont typeface="Times New Roman" pitchFamily="16" charset="0"/>
              <a:buChar char="•"/>
            </a:pPr>
            <a:r>
              <a:rPr lang="en-GB" sz="2000" dirty="0" smtClean="0">
                <a:solidFill>
                  <a:schemeClr val="tx1"/>
                </a:solidFill>
              </a:rPr>
              <a:t>Mesh based architecture deployment is expected to lead to significant increase in operational efficiency and reliability. </a:t>
            </a:r>
          </a:p>
          <a:p>
            <a:pPr>
              <a:buFont typeface="Times New Roman" pitchFamily="16" charset="0"/>
              <a:buChar char="•"/>
            </a:pPr>
            <a:r>
              <a:rPr lang="en-GB" sz="2000" dirty="0" smtClean="0">
                <a:solidFill>
                  <a:schemeClr val="tx1"/>
                </a:solidFill>
              </a:rPr>
              <a:t>Existing standards cover aspects of </a:t>
            </a:r>
            <a:r>
              <a:rPr lang="en-GB" sz="2000" dirty="0" err="1" smtClean="0">
                <a:solidFill>
                  <a:schemeClr val="tx1"/>
                </a:solidFill>
              </a:rPr>
              <a:t>mmWave</a:t>
            </a:r>
            <a:r>
              <a:rPr lang="en-GB" sz="2000" dirty="0" smtClean="0">
                <a:solidFill>
                  <a:schemeClr val="tx1"/>
                </a:solidFill>
              </a:rPr>
              <a:t> technology [1] and meshed wireless networks [2].</a:t>
            </a:r>
          </a:p>
          <a:p>
            <a:pPr>
              <a:buFont typeface="Times New Roman" pitchFamily="16" charset="0"/>
              <a:buChar char="•"/>
            </a:pPr>
            <a:r>
              <a:rPr lang="en-GB" sz="2000" dirty="0" smtClean="0">
                <a:solidFill>
                  <a:schemeClr val="tx1"/>
                </a:solidFill>
              </a:rPr>
              <a:t>In order to cover </a:t>
            </a:r>
            <a:r>
              <a:rPr lang="en-GB" sz="2000" dirty="0" err="1" smtClean="0">
                <a:solidFill>
                  <a:schemeClr val="tx1"/>
                </a:solidFill>
              </a:rPr>
              <a:t>mmWave</a:t>
            </a:r>
            <a:r>
              <a:rPr lang="en-GB" sz="2000" dirty="0" smtClean="0">
                <a:solidFill>
                  <a:schemeClr val="tx1"/>
                </a:solidFill>
              </a:rPr>
              <a:t> Distribution </a:t>
            </a:r>
            <a:r>
              <a:rPr lang="en-GB" sz="2000" dirty="0">
                <a:solidFill>
                  <a:schemeClr val="tx1"/>
                </a:solidFill>
              </a:rPr>
              <a:t>N</a:t>
            </a:r>
            <a:r>
              <a:rPr lang="en-GB" sz="2000" dirty="0" smtClean="0">
                <a:solidFill>
                  <a:schemeClr val="tx1"/>
                </a:solidFill>
              </a:rPr>
              <a:t>etworks, the </a:t>
            </a:r>
            <a:r>
              <a:rPr lang="en-GB" sz="2000" dirty="0">
                <a:solidFill>
                  <a:schemeClr val="tx1"/>
                </a:solidFill>
              </a:rPr>
              <a:t>11ay use case document [3] has </a:t>
            </a:r>
            <a:r>
              <a:rPr lang="en-GB" sz="2000" dirty="0" smtClean="0">
                <a:solidFill>
                  <a:schemeClr val="tx1"/>
                </a:solidFill>
              </a:rPr>
              <a:t>to be extended </a:t>
            </a:r>
            <a:r>
              <a:rPr lang="en-US" sz="2000" dirty="0">
                <a:solidFill>
                  <a:schemeClr val="tx1"/>
                </a:solidFill>
              </a:rPr>
              <a:t>by </a:t>
            </a:r>
            <a:r>
              <a:rPr lang="en-US" sz="2000" dirty="0" smtClean="0">
                <a:solidFill>
                  <a:schemeClr val="tx1"/>
                </a:solidFill>
              </a:rPr>
              <a:t>a respective usage model.</a:t>
            </a:r>
            <a:endParaRPr lang="en-GB" sz="20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July 2017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>
                <a:solidFill>
                  <a:schemeClr val="tx1"/>
                </a:solidFill>
              </a:rPr>
              <a:t>Slide </a:t>
            </a:r>
            <a:fld id="{DC83D890-10BB-4905-98E9-EC5FFEC1B9BB}" type="slidenum">
              <a:rPr lang="en-GB">
                <a:solidFill>
                  <a:schemeClr val="tx1"/>
                </a:solidFill>
              </a:rPr>
              <a:pPr/>
              <a:t>4</a:t>
            </a:fld>
            <a:endParaRPr lang="en-GB">
              <a:solidFill>
                <a:schemeClr val="tx1"/>
              </a:solidFill>
            </a:endParaRPr>
          </a:p>
        </p:txBody>
      </p:sp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4213"/>
            <a:ext cx="7772400" cy="1160462"/>
          </a:xfrm>
          <a:ln/>
        </p:spPr>
        <p:txBody>
          <a:bodyPr lIns="90000" tIns="46800" rIns="90000" bIns="46800"/>
          <a:lstStyle/>
          <a:p>
            <a:r>
              <a:rPr lang="en-GB" dirty="0" smtClean="0">
                <a:solidFill>
                  <a:schemeClr val="tx1"/>
                </a:solidFill>
              </a:rPr>
              <a:t>Service Provider Motivation for </a:t>
            </a:r>
            <a:r>
              <a:rPr lang="en-GB" dirty="0" err="1" smtClean="0">
                <a:solidFill>
                  <a:schemeClr val="tx1"/>
                </a:solidFill>
              </a:rPr>
              <a:t>mmWave</a:t>
            </a:r>
            <a:r>
              <a:rPr lang="en-GB" dirty="0" smtClean="0">
                <a:solidFill>
                  <a:schemeClr val="tx1"/>
                </a:solidFill>
              </a:rPr>
              <a:t> Distribution Network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1772816"/>
            <a:ext cx="7772400" cy="4680520"/>
          </a:xfrm>
          <a:ln/>
        </p:spPr>
        <p:txBody>
          <a:bodyPr/>
          <a:lstStyle/>
          <a:p>
            <a:pPr marL="285750" indent="-285750">
              <a:spcAft>
                <a:spcPts val="300"/>
              </a:spcAft>
              <a:buFont typeface="Arial" charset="0"/>
              <a:buChar char="•"/>
            </a:pP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tional fiber access networks provide </a:t>
            </a:r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performance </a:t>
            </a: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iability </a:t>
            </a: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 are very expensive and time consuming in their deployment.</a:t>
            </a:r>
          </a:p>
          <a:p>
            <a:pPr marL="285750" indent="-285750">
              <a:spcAft>
                <a:spcPts val="300"/>
              </a:spcAft>
              <a:buFont typeface="Arial" charset="0"/>
              <a:buChar char="•"/>
            </a:pPr>
            <a:r>
              <a:rPr lang="en-US" sz="18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mWave</a:t>
            </a: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stribution </a:t>
            </a:r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works </a:t>
            </a:r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ve the potential to provide </a:t>
            </a: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veral advantages from provider perspective:</a:t>
            </a:r>
          </a:p>
          <a:p>
            <a:pPr marL="685800" lvl="1">
              <a:spcBef>
                <a:spcPts val="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st 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-to-market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ough 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llout speedup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5800" lvl="1">
              <a:spcBef>
                <a:spcPts val="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ming at high coverage and low upfront cost </a:t>
            </a:r>
          </a:p>
          <a:p>
            <a:pPr marL="685800" lvl="1">
              <a:spcBef>
                <a:spcPts val="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nergy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other radio rollouts (e.g. SC, WLAN) </a:t>
            </a:r>
          </a:p>
          <a:p>
            <a:pPr marL="285750" indent="-285750">
              <a:spcAft>
                <a:spcPts val="300"/>
              </a:spcAft>
              <a:buFont typeface="Arial" charset="0"/>
              <a:buChar char="•"/>
            </a:pP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ides that SPs are targeting to different aspects that can be also delivered by a </a:t>
            </a:r>
            <a:r>
              <a:rPr lang="en-US" sz="1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mWave</a:t>
            </a:r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tion Network:</a:t>
            </a:r>
          </a:p>
          <a:p>
            <a:pPr marL="685800" lvl="1">
              <a:spcBef>
                <a:spcPts val="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ptive topologies (mesh, tree, point-to-point etc.)</a:t>
            </a:r>
          </a:p>
          <a:p>
            <a:pPr marL="685800" lvl="1">
              <a:spcBef>
                <a:spcPts val="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lience and redundancy (e.g. for avoiding </a:t>
            </a:r>
            <a:r>
              <a:rPr lang="en-US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nk failures / outages)</a:t>
            </a:r>
          </a:p>
          <a:p>
            <a:pPr marL="685800" lvl="1">
              <a:spcBef>
                <a:spcPts val="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ering of traffic and bandwidth/link utilization</a:t>
            </a:r>
          </a:p>
          <a:p>
            <a:pPr marL="285750" indent="-285750">
              <a:spcAft>
                <a:spcPts val="300"/>
              </a:spcAft>
              <a:buFont typeface="Arial" charset="0"/>
              <a:buChar char="•"/>
            </a:pP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is assumed that a </a:t>
            </a:r>
            <a:r>
              <a:rPr lang="en-US" sz="1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mWave</a:t>
            </a:r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tion Network is able to cover typical customer bases of a few street cabinets (in terms of range, number of subscribers, and bandwidth).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5800" lvl="1">
              <a:spcBef>
                <a:spcPts val="0"/>
              </a:spcBef>
              <a:spcAft>
                <a:spcPts val="300"/>
              </a:spcAft>
              <a:buFont typeface="Arial" charset="0"/>
              <a:buChar char="•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3" name="Rectangle 2"/>
          <p:cNvSpPr/>
          <p:nvPr/>
        </p:nvSpPr>
        <p:spPr>
          <a:xfrm>
            <a:off x="5005189" y="3284984"/>
            <a:ext cx="4031307" cy="7771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85800" lvl="1">
              <a:spcAft>
                <a:spcPts val="30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ttle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no installation at customer site</a:t>
            </a:r>
          </a:p>
          <a:p>
            <a:pPr marL="685800" lvl="1">
              <a:spcAft>
                <a:spcPts val="3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s coordination with various 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ing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wners</a:t>
            </a:r>
          </a:p>
        </p:txBody>
      </p:sp>
    </p:spTree>
    <p:extLst>
      <p:ext uri="{BB962C8B-B14F-4D97-AF65-F5344CB8AC3E}">
        <p14:creationId xmlns:p14="http://schemas.microsoft.com/office/powerpoint/2010/main" val="413802845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6" name="Objekt 15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6458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1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256" name="Picture 4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234" y="4287559"/>
            <a:ext cx="870299" cy="11585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53" name="Picture 3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142" y="5180471"/>
            <a:ext cx="832508" cy="11025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52" name="Picture 3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4964" y="1983311"/>
            <a:ext cx="905257" cy="1126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6C8F0547-AFA8-4805-9A22-12721CDE959F}" type="slidenum">
              <a:rPr lang="en-GB"/>
              <a:pPr/>
              <a:t>5</a:t>
            </a:fld>
            <a:endParaRPr lang="en-GB"/>
          </a:p>
        </p:txBody>
      </p:sp>
      <p:sp>
        <p:nvSpPr>
          <p:cNvPr id="6145" name="Rectangle 1"/>
          <p:cNvSpPr>
            <a:spLocks noGrp="1" noChangeArrowheads="1"/>
          </p:cNvSpPr>
          <p:nvPr>
            <p:ph type="title"/>
          </p:nvPr>
        </p:nvSpPr>
        <p:spPr>
          <a:xfrm>
            <a:off x="525070" y="685800"/>
            <a:ext cx="8151386" cy="818921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dirty="0" err="1" smtClean="0">
                <a:solidFill>
                  <a:schemeClr val="dk2"/>
                </a:solidFill>
                <a:ea typeface="Times New Roman"/>
                <a:cs typeface="Times New Roman"/>
                <a:sym typeface="Times New Roman"/>
              </a:rPr>
              <a:t>mmWave</a:t>
            </a:r>
            <a:r>
              <a:rPr lang="en-US" dirty="0" smtClean="0">
                <a:solidFill>
                  <a:schemeClr val="dk2"/>
                </a:solidFill>
                <a:ea typeface="Times New Roman"/>
                <a:cs typeface="Times New Roman"/>
                <a:sym typeface="Times New Roman"/>
              </a:rPr>
              <a:t> </a:t>
            </a:r>
            <a:r>
              <a:rPr lang="en-GB" dirty="0" smtClean="0"/>
              <a:t>Distribution Network – </a:t>
            </a:r>
            <a:r>
              <a:rPr lang="en-GB" dirty="0" smtClean="0">
                <a:solidFill>
                  <a:schemeClr val="tx1"/>
                </a:solidFill>
              </a:rPr>
              <a:t>Area View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pic>
        <p:nvPicPr>
          <p:cNvPr id="159" name="Picture 164"/>
          <p:cNvPicPr>
            <a:picLocks noChangeAspect="1" noChangeArrowheads="1"/>
          </p:cNvPicPr>
          <p:nvPr/>
        </p:nvPicPr>
        <p:blipFill>
          <a:blip r:embed="rId10">
            <a:lum bright="24000" contrast="-18000"/>
            <a:extLst>
              <a:ext uri="{BEE84BDF-2CC1-4A75-AAE8-252712987DC2}">
                <a14:imgProps xmlns="" xmlns:ns1="http://schemas.openxmlformats.org/officeDocument/2006/extended-properties" xmlns:vt="http://schemas.openxmlformats.org/officeDocument/2006/docPropsVTypes" xmlns:a14="http://schemas.microsoft.com/office/drawing/2010/main">
                  <a14:imgLayer>
                    <a14:imgEffect>
                      <a14:brightnessContrast bright="24000" contrast="-18000"/>
                    </a14:imgEffect>
                  </a14:imgLayer>
                </a14:imgProps>
              </a:ext>
              <a:ext uri="{6FA1A69D-9EAC-4CA0-AE47-B6C247622F1A}">
                <a14:useLocalDpi xmlns="" xmlns:ns1="http://schemas.openxmlformats.org/officeDocument/2006/extended-properties" xmlns:vt="http://schemas.openxmlformats.org/officeDocument/2006/docPropsVTypes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2691" y="5288395"/>
            <a:ext cx="677341" cy="633578"/>
          </a:xfrm>
          <a:prstGeom prst="rect">
            <a:avLst/>
          </a:prstGeom>
          <a:noFill/>
          <a:ln w="12700">
            <a:noFill/>
            <a:miter lim="800000"/>
          </a:ln>
        </p:spPr>
      </p:pic>
      <p:sp>
        <p:nvSpPr>
          <p:cNvPr id="162" name="Rectangle 162"/>
          <p:cNvSpPr>
            <a:spLocks noChangeArrowheads="1"/>
          </p:cNvSpPr>
          <p:nvPr/>
        </p:nvSpPr>
        <p:spPr bwMode="auto">
          <a:xfrm>
            <a:off x="2349201" y="2118771"/>
            <a:ext cx="453079" cy="2708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100" dirty="0"/>
              <a:t>Small </a:t>
            </a:r>
            <a:r>
              <a:rPr lang="en-US" altLang="de-DE" sz="1100" dirty="0" smtClean="0"/>
              <a:t>cell</a:t>
            </a:r>
            <a:endParaRPr lang="en-US" altLang="de-DE" sz="1100" dirty="0"/>
          </a:p>
        </p:txBody>
      </p:sp>
      <p:sp>
        <p:nvSpPr>
          <p:cNvPr id="163" name="TextBox 94"/>
          <p:cNvSpPr txBox="1">
            <a:spLocks noChangeArrowheads="1"/>
          </p:cNvSpPr>
          <p:nvPr/>
        </p:nvSpPr>
        <p:spPr bwMode="auto">
          <a:xfrm>
            <a:off x="683568" y="2839348"/>
            <a:ext cx="416808" cy="2708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100" dirty="0" smtClean="0"/>
              <a:t>Wi-Fi AP</a:t>
            </a:r>
            <a:endParaRPr lang="en-US" altLang="de-DE" sz="1100" dirty="0"/>
          </a:p>
        </p:txBody>
      </p:sp>
      <p:sp>
        <p:nvSpPr>
          <p:cNvPr id="165" name="TextBox 94"/>
          <p:cNvSpPr txBox="1">
            <a:spLocks noChangeArrowheads="1"/>
          </p:cNvSpPr>
          <p:nvPr/>
        </p:nvSpPr>
        <p:spPr bwMode="auto">
          <a:xfrm>
            <a:off x="6903819" y="2955727"/>
            <a:ext cx="671761" cy="304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100" dirty="0" smtClean="0"/>
              <a:t>Fiber PoP</a:t>
            </a:r>
            <a:br>
              <a:rPr lang="en-US" altLang="de-DE" sz="1100" dirty="0" smtClean="0"/>
            </a:br>
            <a:r>
              <a:rPr lang="en-US" altLang="de-DE" sz="1100" dirty="0" smtClean="0"/>
              <a:t>(cabinet)</a:t>
            </a:r>
            <a:endParaRPr lang="en-US" altLang="de-DE" sz="1100" dirty="0"/>
          </a:p>
        </p:txBody>
      </p:sp>
      <p:pic>
        <p:nvPicPr>
          <p:cNvPr id="168" name="Picture 163"/>
          <p:cNvPicPr>
            <a:picLocks noChangeAspect="1" noChangeArrowheads="1"/>
          </p:cNvPicPr>
          <p:nvPr/>
        </p:nvPicPr>
        <p:blipFill>
          <a:blip r:embed="rId10">
            <a:lum bright="24000" contrast="-18000"/>
            <a:extLst>
              <a:ext uri="{C6817429-C8A8-4D84-93E4-C83949A02BD1}">
                <a14:imgProps xmlns="" xmlns:ns1="http://schemas.openxmlformats.org/officeDocument/2006/extended-properties" xmlns:vt="http://schemas.openxmlformats.org/officeDocument/2006/docPropsVTypes" xmlns:a14="http://schemas.microsoft.com/office/drawing/2010/main">
                  <a14:imgLayer>
                    <a14:imgEffect>
                      <a14:brightnessContrast bright="24000" contrast="-18000"/>
                    </a14:imgEffect>
                  </a14:imgLayer>
                </a14:imgProps>
              </a:ext>
              <a:ext uri="{E5B0B5D3-4B33-4A51-8642-9E6B4B91DBBF}">
                <a14:useLocalDpi xmlns="" xmlns:ns1="http://schemas.openxmlformats.org/officeDocument/2006/extended-properties" xmlns:vt="http://schemas.openxmlformats.org/officeDocument/2006/docPropsVTypes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345" y="5799186"/>
            <a:ext cx="441880" cy="414288"/>
          </a:xfrm>
          <a:prstGeom prst="rect">
            <a:avLst/>
          </a:prstGeom>
          <a:noFill/>
          <a:ln w="12700">
            <a:noFill/>
            <a:miter lim="800000"/>
          </a:ln>
        </p:spPr>
      </p:pic>
      <p:pic>
        <p:nvPicPr>
          <p:cNvPr id="169" name="Picture 162"/>
          <p:cNvPicPr>
            <a:picLocks noChangeAspect="1" noChangeArrowheads="1"/>
          </p:cNvPicPr>
          <p:nvPr/>
        </p:nvPicPr>
        <p:blipFill>
          <a:blip r:embed="rId10">
            <a:lum bright="24000" contrast="-18000"/>
            <a:extLst>
              <a:ext uri="{8BF03AEC-7F6F-45DD-AE4A-B8DC82FAE81A}">
                <a14:imgProps xmlns="" xmlns:ns1="http://schemas.openxmlformats.org/officeDocument/2006/extended-properties" xmlns:vt="http://schemas.openxmlformats.org/officeDocument/2006/docPropsVTypes" xmlns:a14="http://schemas.microsoft.com/office/drawing/2010/main">
                  <a14:imgLayer>
                    <a14:imgEffect>
                      <a14:brightnessContrast bright="24000" contrast="-18000"/>
                    </a14:imgEffect>
                  </a14:imgLayer>
                </a14:imgProps>
              </a:ext>
              <a:ext uri="{65195027-D50E-4181-8550-194CF58B1A8A}">
                <a14:useLocalDpi xmlns="" xmlns:ns1="http://schemas.openxmlformats.org/officeDocument/2006/extended-properties" xmlns:vt="http://schemas.openxmlformats.org/officeDocument/2006/docPropsVTypes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36" y="1700808"/>
            <a:ext cx="285158" cy="267440"/>
          </a:xfrm>
          <a:prstGeom prst="rect">
            <a:avLst/>
          </a:prstGeom>
          <a:noFill/>
          <a:ln w="12700">
            <a:noFill/>
            <a:miter lim="800000"/>
          </a:ln>
        </p:spPr>
      </p:pic>
      <p:pic>
        <p:nvPicPr>
          <p:cNvPr id="171" name="Picture 164"/>
          <p:cNvPicPr>
            <a:picLocks noChangeAspect="1" noChangeArrowheads="1"/>
          </p:cNvPicPr>
          <p:nvPr/>
        </p:nvPicPr>
        <p:blipFill>
          <a:blip r:embed="rId10">
            <a:lum bright="24000" contrast="-18000"/>
            <a:extLst>
              <a:ext uri="{BEE84BDF-2CC1-4A75-AAE8-252712987DC2}">
                <a14:imgProps xmlns="" xmlns:ns1="http://schemas.openxmlformats.org/officeDocument/2006/extended-properties" xmlns:vt="http://schemas.openxmlformats.org/officeDocument/2006/docPropsVTypes" xmlns:a14="http://schemas.microsoft.com/office/drawing/2010/main">
                  <a14:imgLayer>
                    <a14:imgEffect>
                      <a14:brightnessContrast bright="24000" contrast="-18000"/>
                    </a14:imgEffect>
                  </a14:imgLayer>
                </a14:imgProps>
              </a:ext>
              <a:ext uri="{6FA1A69D-9EAC-4CA0-AE47-B6C247622F1A}">
                <a14:useLocalDpi xmlns="" xmlns:ns1="http://schemas.openxmlformats.org/officeDocument/2006/extended-properties" xmlns:vt="http://schemas.openxmlformats.org/officeDocument/2006/docPropsVTypes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714" y="1968903"/>
            <a:ext cx="677341" cy="633578"/>
          </a:xfrm>
          <a:prstGeom prst="rect">
            <a:avLst/>
          </a:prstGeom>
          <a:noFill/>
          <a:ln w="12700">
            <a:noFill/>
            <a:miter lim="800000"/>
          </a:ln>
        </p:spPr>
      </p:pic>
      <p:pic>
        <p:nvPicPr>
          <p:cNvPr id="172" name="Picture 162"/>
          <p:cNvPicPr>
            <a:picLocks noChangeAspect="1" noChangeArrowheads="1"/>
          </p:cNvPicPr>
          <p:nvPr/>
        </p:nvPicPr>
        <p:blipFill>
          <a:blip r:embed="rId10">
            <a:lum bright="24000" contrast="-18000"/>
            <a:extLst>
              <a:ext uri="{8BF03AEC-7F6F-45DD-AE4A-B8DC82FAE81A}">
                <a14:imgProps xmlns="" xmlns:ns1="http://schemas.openxmlformats.org/officeDocument/2006/extended-properties" xmlns:vt="http://schemas.openxmlformats.org/officeDocument/2006/docPropsVTypes" xmlns:a14="http://schemas.microsoft.com/office/drawing/2010/main">
                  <a14:imgLayer>
                    <a14:imgEffect>
                      <a14:brightnessContrast bright="24000" contrast="-18000"/>
                    </a14:imgEffect>
                  </a14:imgLayer>
                </a14:imgProps>
              </a:ext>
              <a:ext uri="{65195027-D50E-4181-8550-194CF58B1A8A}">
                <a14:useLocalDpi xmlns="" xmlns:ns1="http://schemas.openxmlformats.org/officeDocument/2006/extended-properties" xmlns:vt="http://schemas.openxmlformats.org/officeDocument/2006/docPropsVTypes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3794" y="1824386"/>
            <a:ext cx="384857" cy="360944"/>
          </a:xfrm>
          <a:prstGeom prst="rect">
            <a:avLst/>
          </a:prstGeom>
          <a:noFill/>
          <a:ln w="12700">
            <a:noFill/>
            <a:miter lim="800000"/>
          </a:ln>
        </p:spPr>
      </p:pic>
      <p:pic>
        <p:nvPicPr>
          <p:cNvPr id="174" name="Grafik 173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1732" y="2072967"/>
            <a:ext cx="124905" cy="483326"/>
          </a:xfrm>
          <a:prstGeom prst="rect">
            <a:avLst/>
          </a:prstGeom>
        </p:spPr>
      </p:pic>
      <p:pic>
        <p:nvPicPr>
          <p:cNvPr id="175" name="Grafik 174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0008" y="2707159"/>
            <a:ext cx="124905" cy="483326"/>
          </a:xfrm>
          <a:prstGeom prst="rect">
            <a:avLst/>
          </a:prstGeom>
        </p:spPr>
      </p:pic>
      <p:pic>
        <p:nvPicPr>
          <p:cNvPr id="177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2752034" y="2173808"/>
            <a:ext cx="618690" cy="2088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</p:pic>
      <p:sp>
        <p:nvSpPr>
          <p:cNvPr id="178" name="Gleichschenkliges Dreieck 177"/>
          <p:cNvSpPr/>
          <p:nvPr/>
        </p:nvSpPr>
        <p:spPr>
          <a:xfrm rot="4800619">
            <a:off x="1467804" y="4255069"/>
            <a:ext cx="693944" cy="847916"/>
          </a:xfrm>
          <a:prstGeom prst="triangle">
            <a:avLst/>
          </a:prstGeom>
          <a:solidFill>
            <a:srgbClr val="E20074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  <a:defRPr/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sp>
        <p:nvSpPr>
          <p:cNvPr id="180" name="Ellipse 179"/>
          <p:cNvSpPr/>
          <p:nvPr/>
        </p:nvSpPr>
        <p:spPr>
          <a:xfrm rot="15613648">
            <a:off x="943634" y="4538054"/>
            <a:ext cx="753593" cy="432000"/>
          </a:xfrm>
          <a:prstGeom prst="ellipse">
            <a:avLst/>
          </a:prstGeom>
          <a:solidFill>
            <a:srgbClr val="E20074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  <a:defRPr/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sp>
        <p:nvSpPr>
          <p:cNvPr id="181" name="Textfeld 6"/>
          <p:cNvSpPr txBox="1">
            <a:spLocks noChangeArrowheads="1"/>
          </p:cNvSpPr>
          <p:nvPr/>
        </p:nvSpPr>
        <p:spPr bwMode="auto">
          <a:xfrm>
            <a:off x="1352133" y="4654799"/>
            <a:ext cx="460673" cy="139029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eaLnBrk="0" hangingPunct="0"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  <a:lvl2pPr marL="1588" lvl="1" indent="0" algn="ctr" eaLnBrk="0" hangingPunct="0">
              <a:lnSpc>
                <a:spcPct val="80000"/>
              </a:lnSpc>
              <a:spcBef>
                <a:spcPts val="0"/>
              </a:spcBef>
              <a:buClr>
                <a:srgbClr val="E20074"/>
              </a:buClr>
              <a:defRPr sz="1000">
                <a:solidFill>
                  <a:srgbClr val="C00000"/>
                </a:solidFill>
              </a:defRPr>
            </a:lvl2pPr>
            <a:lvl3pPr marL="179388" lvl="2" indent="-176213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3pPr>
            <a:lvl4pPr marL="352425" lvl="3" indent="-171450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4pPr>
            <a:lvl5pPr marL="538163" indent="-18415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678" lvl="1" defTabSz="456662">
              <a:defRPr/>
            </a:pPr>
            <a:r>
              <a:rPr lang="en-GB" altLang="en-US" sz="1100" kern="0" dirty="0">
                <a:latin typeface="Arial" panose="020B0604020202020204" pitchFamily="34" charset="0"/>
                <a:cs typeface="Arial" panose="020B0604020202020204" pitchFamily="34" charset="0"/>
              </a:rPr>
              <a:t>WTTH</a:t>
            </a:r>
          </a:p>
        </p:txBody>
      </p:sp>
      <p:pic>
        <p:nvPicPr>
          <p:cNvPr id="184" name="Grafik 183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974" y="4415407"/>
            <a:ext cx="124905" cy="483326"/>
          </a:xfrm>
          <a:prstGeom prst="rect">
            <a:avLst/>
          </a:prstGeom>
        </p:spPr>
      </p:pic>
      <p:sp>
        <p:nvSpPr>
          <p:cNvPr id="186" name="Rechteck 185"/>
          <p:cNvSpPr/>
          <p:nvPr/>
        </p:nvSpPr>
        <p:spPr>
          <a:xfrm>
            <a:off x="3608751" y="4573720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pic>
        <p:nvPicPr>
          <p:cNvPr id="187" name="Grafik 186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9877" y="4428770"/>
            <a:ext cx="124905" cy="483326"/>
          </a:xfrm>
          <a:prstGeom prst="rect">
            <a:avLst/>
          </a:prstGeom>
        </p:spPr>
      </p:pic>
      <p:sp>
        <p:nvSpPr>
          <p:cNvPr id="189" name="Textfeld 6"/>
          <p:cNvSpPr txBox="1">
            <a:spLocks noChangeArrowheads="1"/>
          </p:cNvSpPr>
          <p:nvPr/>
        </p:nvSpPr>
        <p:spPr bwMode="auto">
          <a:xfrm rot="3582353">
            <a:off x="3819974" y="5024765"/>
            <a:ext cx="507860" cy="153286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eaLnBrk="0" hangingPunct="0"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  <a:lvl2pPr marL="1588" lvl="1" indent="0" algn="ctr" eaLnBrk="0" hangingPunct="0">
              <a:lnSpc>
                <a:spcPct val="80000"/>
              </a:lnSpc>
              <a:spcBef>
                <a:spcPts val="0"/>
              </a:spcBef>
              <a:buClr>
                <a:srgbClr val="E20074"/>
              </a:buClr>
              <a:defRPr sz="1000">
                <a:solidFill>
                  <a:srgbClr val="C00000"/>
                </a:solidFill>
              </a:defRPr>
            </a:lvl2pPr>
            <a:lvl3pPr marL="179388" lvl="2" indent="-176213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3pPr>
            <a:lvl4pPr marL="352425" lvl="3" indent="-171450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4pPr>
            <a:lvl5pPr marL="538163" indent="-18415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850" lvl="1" defTabSz="503486">
              <a:defRPr/>
            </a:pPr>
            <a:r>
              <a:rPr lang="en-GB" altLang="en-US" sz="1100" kern="0" dirty="0" smtClean="0">
                <a:solidFill>
                  <a:srgbClr val="427B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TTB</a:t>
            </a:r>
            <a:endParaRPr lang="en-GB" altLang="en-US" sz="1100" kern="0" dirty="0">
              <a:solidFill>
                <a:srgbClr val="427BB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1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4782984" y="4506844"/>
            <a:ext cx="618690" cy="2088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</p:pic>
      <p:sp>
        <p:nvSpPr>
          <p:cNvPr id="192" name="Rectangle 162"/>
          <p:cNvSpPr>
            <a:spLocks noChangeArrowheads="1"/>
          </p:cNvSpPr>
          <p:nvPr/>
        </p:nvSpPr>
        <p:spPr bwMode="auto">
          <a:xfrm>
            <a:off x="4643059" y="4731496"/>
            <a:ext cx="400677" cy="295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200" dirty="0"/>
              <a:t>Small </a:t>
            </a:r>
            <a:r>
              <a:rPr lang="en-US" altLang="de-DE" sz="1200" dirty="0" smtClean="0"/>
              <a:t>cell</a:t>
            </a:r>
            <a:endParaRPr lang="en-US" altLang="de-DE" sz="1200" dirty="0"/>
          </a:p>
        </p:txBody>
      </p:sp>
      <p:pic>
        <p:nvPicPr>
          <p:cNvPr id="195" name="Picture 164"/>
          <p:cNvPicPr>
            <a:picLocks noChangeAspect="1" noChangeArrowheads="1"/>
          </p:cNvPicPr>
          <p:nvPr/>
        </p:nvPicPr>
        <p:blipFill>
          <a:blip r:embed="rId10">
            <a:lum bright="24000" contrast="-18000"/>
            <a:extLst>
              <a:ext uri="{BEE84BDF-2CC1-4A75-AAE8-252712987DC2}">
                <a14:imgProps xmlns="" xmlns:ns1="http://schemas.openxmlformats.org/officeDocument/2006/extended-properties" xmlns:vt="http://schemas.openxmlformats.org/officeDocument/2006/docPropsVTypes" xmlns:a14="http://schemas.microsoft.com/office/drawing/2010/main">
                  <a14:imgLayer>
                    <a14:imgEffect>
                      <a14:brightnessContrast bright="24000" contrast="-18000"/>
                    </a14:imgEffect>
                  </a14:imgLayer>
                </a14:imgProps>
              </a:ext>
              <a:ext uri="{6FA1A69D-9EAC-4CA0-AE47-B6C247622F1A}">
                <a14:useLocalDpi xmlns="" xmlns:ns1="http://schemas.openxmlformats.org/officeDocument/2006/extended-properties" xmlns:vt="http://schemas.openxmlformats.org/officeDocument/2006/docPropsVTypes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099" y="2217673"/>
            <a:ext cx="677341" cy="633578"/>
          </a:xfrm>
          <a:prstGeom prst="rect">
            <a:avLst/>
          </a:prstGeom>
          <a:noFill/>
          <a:ln w="12700">
            <a:noFill/>
            <a:miter lim="800000"/>
          </a:ln>
        </p:spPr>
      </p:pic>
      <p:pic>
        <p:nvPicPr>
          <p:cNvPr id="202" name="Grafik 201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984" y="3008736"/>
            <a:ext cx="124905" cy="483326"/>
          </a:xfrm>
          <a:prstGeom prst="rect">
            <a:avLst/>
          </a:prstGeom>
        </p:spPr>
      </p:pic>
      <p:pic>
        <p:nvPicPr>
          <p:cNvPr id="206" name="Grafik 205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2552" y="3011217"/>
            <a:ext cx="124905" cy="483326"/>
          </a:xfrm>
          <a:prstGeom prst="rect">
            <a:avLst/>
          </a:prstGeom>
        </p:spPr>
      </p:pic>
      <p:sp>
        <p:nvSpPr>
          <p:cNvPr id="316" name="Rechteck 315"/>
          <p:cNvSpPr/>
          <p:nvPr/>
        </p:nvSpPr>
        <p:spPr>
          <a:xfrm>
            <a:off x="4182691" y="5655490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pic>
        <p:nvPicPr>
          <p:cNvPr id="320" name="Grafik 319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1426" y="2017338"/>
            <a:ext cx="124905" cy="483326"/>
          </a:xfrm>
          <a:prstGeom prst="rect">
            <a:avLst/>
          </a:prstGeom>
        </p:spPr>
      </p:pic>
      <p:cxnSp>
        <p:nvCxnSpPr>
          <p:cNvPr id="322" name="Gerade Verbindung 321"/>
          <p:cNvCxnSpPr/>
          <p:nvPr/>
        </p:nvCxnSpPr>
        <p:spPr>
          <a:xfrm>
            <a:off x="107504" y="3623319"/>
            <a:ext cx="3352476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24" name="Gerade Verbindung 323"/>
          <p:cNvCxnSpPr/>
          <p:nvPr/>
        </p:nvCxnSpPr>
        <p:spPr>
          <a:xfrm>
            <a:off x="3694742" y="3876611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25" name="Gerade Verbindung 324"/>
          <p:cNvCxnSpPr/>
          <p:nvPr/>
        </p:nvCxnSpPr>
        <p:spPr>
          <a:xfrm>
            <a:off x="2211024" y="3876611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31" name="Gerade Verbindung 330"/>
          <p:cNvCxnSpPr/>
          <p:nvPr/>
        </p:nvCxnSpPr>
        <p:spPr>
          <a:xfrm>
            <a:off x="2979015" y="3878463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32" name="Gerade Verbindung 331"/>
          <p:cNvCxnSpPr/>
          <p:nvPr/>
        </p:nvCxnSpPr>
        <p:spPr>
          <a:xfrm>
            <a:off x="1552010" y="3876611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1" name="Gerade Verbindung 340"/>
          <p:cNvCxnSpPr/>
          <p:nvPr/>
        </p:nvCxnSpPr>
        <p:spPr>
          <a:xfrm>
            <a:off x="4369088" y="3878463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2" name="Gerade Verbindung 341"/>
          <p:cNvCxnSpPr/>
          <p:nvPr/>
        </p:nvCxnSpPr>
        <p:spPr>
          <a:xfrm>
            <a:off x="5087436" y="3878463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3" name="Gerade Verbindung 342"/>
          <p:cNvCxnSpPr/>
          <p:nvPr/>
        </p:nvCxnSpPr>
        <p:spPr>
          <a:xfrm>
            <a:off x="169173" y="3871132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4" name="Gerade Verbindung 343"/>
          <p:cNvCxnSpPr/>
          <p:nvPr/>
        </p:nvCxnSpPr>
        <p:spPr>
          <a:xfrm>
            <a:off x="843529" y="3872984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5" name="Gerade Verbindung 344"/>
          <p:cNvCxnSpPr/>
          <p:nvPr/>
        </p:nvCxnSpPr>
        <p:spPr>
          <a:xfrm>
            <a:off x="107504" y="4111395"/>
            <a:ext cx="7665464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6" name="Gerade Verbindung 345"/>
          <p:cNvCxnSpPr/>
          <p:nvPr/>
        </p:nvCxnSpPr>
        <p:spPr>
          <a:xfrm>
            <a:off x="6440140" y="3876611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7" name="Gerade Verbindung 346"/>
          <p:cNvCxnSpPr/>
          <p:nvPr/>
        </p:nvCxnSpPr>
        <p:spPr>
          <a:xfrm>
            <a:off x="7208131" y="3878463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8" name="Gerade Verbindung 347"/>
          <p:cNvCxnSpPr/>
          <p:nvPr/>
        </p:nvCxnSpPr>
        <p:spPr>
          <a:xfrm>
            <a:off x="5781126" y="3876611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9" name="Gerade Verbindung 348"/>
          <p:cNvCxnSpPr/>
          <p:nvPr/>
        </p:nvCxnSpPr>
        <p:spPr>
          <a:xfrm>
            <a:off x="4118475" y="3623319"/>
            <a:ext cx="3654493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50" name="Gerade Verbindung 349"/>
          <p:cNvCxnSpPr/>
          <p:nvPr/>
        </p:nvCxnSpPr>
        <p:spPr>
          <a:xfrm>
            <a:off x="3457923" y="1700808"/>
            <a:ext cx="2057" cy="1927805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51" name="Gerade Verbindung 350"/>
          <p:cNvCxnSpPr/>
          <p:nvPr/>
        </p:nvCxnSpPr>
        <p:spPr>
          <a:xfrm>
            <a:off x="4132130" y="1700808"/>
            <a:ext cx="203" cy="1920658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52" name="Gerade Verbindung 351"/>
          <p:cNvCxnSpPr/>
          <p:nvPr/>
        </p:nvCxnSpPr>
        <p:spPr>
          <a:xfrm>
            <a:off x="3803924" y="2051154"/>
            <a:ext cx="0" cy="348029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53" name="Gerade Verbindung 352"/>
          <p:cNvCxnSpPr/>
          <p:nvPr/>
        </p:nvCxnSpPr>
        <p:spPr>
          <a:xfrm>
            <a:off x="3812142" y="2759223"/>
            <a:ext cx="0" cy="348029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pic>
        <p:nvPicPr>
          <p:cNvPr id="354" name="Grafik 353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3495" y="5199896"/>
            <a:ext cx="124905" cy="483326"/>
          </a:xfrm>
          <a:prstGeom prst="rect">
            <a:avLst/>
          </a:prstGeom>
        </p:spPr>
      </p:pic>
      <p:pic>
        <p:nvPicPr>
          <p:cNvPr id="356" name="Grafik 355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1468" y="2369738"/>
            <a:ext cx="124905" cy="483326"/>
          </a:xfrm>
          <a:prstGeom prst="rect">
            <a:avLst/>
          </a:prstGeom>
        </p:spPr>
      </p:pic>
      <p:sp>
        <p:nvSpPr>
          <p:cNvPr id="371" name="Textfeld 6"/>
          <p:cNvSpPr txBox="1">
            <a:spLocks noChangeArrowheads="1"/>
          </p:cNvSpPr>
          <p:nvPr/>
        </p:nvSpPr>
        <p:spPr bwMode="auto">
          <a:xfrm rot="18575795">
            <a:off x="4419084" y="2668823"/>
            <a:ext cx="507860" cy="153286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eaLnBrk="0" hangingPunct="0"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  <a:lvl2pPr marL="1588" lvl="1" indent="0" algn="ctr" eaLnBrk="0" hangingPunct="0">
              <a:lnSpc>
                <a:spcPct val="80000"/>
              </a:lnSpc>
              <a:spcBef>
                <a:spcPts val="0"/>
              </a:spcBef>
              <a:buClr>
                <a:srgbClr val="E20074"/>
              </a:buClr>
              <a:defRPr sz="1000">
                <a:solidFill>
                  <a:srgbClr val="C00000"/>
                </a:solidFill>
              </a:defRPr>
            </a:lvl2pPr>
            <a:lvl3pPr marL="179388" lvl="2" indent="-176213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3pPr>
            <a:lvl4pPr marL="352425" lvl="3" indent="-171450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4pPr>
            <a:lvl5pPr marL="538163" indent="-18415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850" lvl="1" defTabSz="503486">
              <a:defRPr/>
            </a:pPr>
            <a:r>
              <a:rPr lang="en-GB" altLang="en-US" sz="1100" kern="0" dirty="0" smtClean="0">
                <a:solidFill>
                  <a:srgbClr val="427B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TTB</a:t>
            </a:r>
            <a:endParaRPr lang="en-GB" altLang="en-US" sz="1100" kern="0" dirty="0">
              <a:solidFill>
                <a:srgbClr val="427BB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2" name="Gleichschenkliges Dreieck 371"/>
          <p:cNvSpPr/>
          <p:nvPr/>
        </p:nvSpPr>
        <p:spPr>
          <a:xfrm rot="2134019">
            <a:off x="1551845" y="4443345"/>
            <a:ext cx="493098" cy="1450261"/>
          </a:xfrm>
          <a:prstGeom prst="triangle">
            <a:avLst/>
          </a:prstGeom>
          <a:solidFill>
            <a:srgbClr val="E20074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  <a:defRPr/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pic>
        <p:nvPicPr>
          <p:cNvPr id="373" name="Grafik 372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1481" y="4411919"/>
            <a:ext cx="124905" cy="483326"/>
          </a:xfrm>
          <a:prstGeom prst="rect">
            <a:avLst/>
          </a:prstGeom>
        </p:spPr>
      </p:pic>
      <p:pic>
        <p:nvPicPr>
          <p:cNvPr id="374" name="Picture 163"/>
          <p:cNvPicPr>
            <a:picLocks noChangeAspect="1" noChangeArrowheads="1"/>
          </p:cNvPicPr>
          <p:nvPr/>
        </p:nvPicPr>
        <p:blipFill>
          <a:blip r:embed="rId10">
            <a:lum bright="24000" contrast="-18000"/>
            <a:extLst>
              <a:ext uri="{C6817429-C8A8-4D84-93E4-C83949A02BD1}">
                <a14:imgProps xmlns="" xmlns:ns1="http://schemas.openxmlformats.org/officeDocument/2006/extended-properties" xmlns:vt="http://schemas.openxmlformats.org/officeDocument/2006/docPropsVTypes" xmlns:a14="http://schemas.microsoft.com/office/drawing/2010/main">
                  <a14:imgLayer>
                    <a14:imgEffect>
                      <a14:brightnessContrast bright="24000" contrast="-18000"/>
                    </a14:imgEffect>
                  </a14:imgLayer>
                </a14:imgProps>
              </a:ext>
              <a:ext uri="{E5B0B5D3-4B33-4A51-8642-9E6B4B91DBBF}">
                <a14:useLocalDpi xmlns="" xmlns:ns1="http://schemas.openxmlformats.org/officeDocument/2006/extended-properties" xmlns:vt="http://schemas.openxmlformats.org/officeDocument/2006/docPropsVTypes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606" y="5597025"/>
            <a:ext cx="584864" cy="548342"/>
          </a:xfrm>
          <a:prstGeom prst="rect">
            <a:avLst/>
          </a:prstGeom>
          <a:noFill/>
          <a:ln w="12700">
            <a:noFill/>
            <a:miter lim="800000"/>
          </a:ln>
        </p:spPr>
      </p:pic>
      <p:sp>
        <p:nvSpPr>
          <p:cNvPr id="375" name="Textfeld 6"/>
          <p:cNvSpPr txBox="1">
            <a:spLocks noChangeArrowheads="1"/>
          </p:cNvSpPr>
          <p:nvPr/>
        </p:nvSpPr>
        <p:spPr bwMode="auto">
          <a:xfrm>
            <a:off x="1335488" y="5438759"/>
            <a:ext cx="460673" cy="139029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eaLnBrk="0" hangingPunct="0"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  <a:lvl2pPr marL="1588" lvl="1" indent="0" algn="ctr" eaLnBrk="0" hangingPunct="0">
              <a:lnSpc>
                <a:spcPct val="80000"/>
              </a:lnSpc>
              <a:spcBef>
                <a:spcPts val="0"/>
              </a:spcBef>
              <a:buClr>
                <a:srgbClr val="E20074"/>
              </a:buClr>
              <a:defRPr sz="1000">
                <a:solidFill>
                  <a:srgbClr val="C00000"/>
                </a:solidFill>
              </a:defRPr>
            </a:lvl2pPr>
            <a:lvl3pPr marL="179388" lvl="2" indent="-176213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3pPr>
            <a:lvl4pPr marL="352425" lvl="3" indent="-171450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4pPr>
            <a:lvl5pPr marL="538163" indent="-18415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678" lvl="1" defTabSz="456662">
              <a:defRPr/>
            </a:pPr>
            <a:r>
              <a:rPr lang="en-GB" altLang="en-US" sz="1100" kern="0" dirty="0">
                <a:latin typeface="Arial" panose="020B0604020202020204" pitchFamily="34" charset="0"/>
                <a:cs typeface="Arial" panose="020B0604020202020204" pitchFamily="34" charset="0"/>
              </a:rPr>
              <a:t>WTTH</a:t>
            </a:r>
          </a:p>
        </p:txBody>
      </p:sp>
      <p:cxnSp>
        <p:nvCxnSpPr>
          <p:cNvPr id="376" name="Line 35"/>
          <p:cNvCxnSpPr>
            <a:endCxn id="318" idx="2"/>
          </p:cNvCxnSpPr>
          <p:nvPr/>
        </p:nvCxnSpPr>
        <p:spPr>
          <a:xfrm flipH="1" flipV="1">
            <a:off x="6290637" y="3515341"/>
            <a:ext cx="1809755" cy="7106"/>
          </a:xfrm>
          <a:prstGeom prst="straightConnector1">
            <a:avLst/>
          </a:prstGeom>
          <a:noFill/>
          <a:ln w="19050">
            <a:solidFill>
              <a:srgbClr val="FF0000"/>
            </a:solidFill>
            <a:round/>
          </a:ln>
        </p:spPr>
      </p:cxnSp>
      <p:grpSp>
        <p:nvGrpSpPr>
          <p:cNvPr id="377" name="Group 5"/>
          <p:cNvGrpSpPr>
            <a:grpSpLocks/>
          </p:cNvGrpSpPr>
          <p:nvPr/>
        </p:nvGrpSpPr>
        <p:grpSpPr bwMode="auto">
          <a:xfrm>
            <a:off x="7127907" y="3286198"/>
            <a:ext cx="201612" cy="265113"/>
            <a:chOff x="632" y="1958"/>
            <a:chExt cx="220" cy="389"/>
          </a:xfrm>
        </p:grpSpPr>
        <p:sp>
          <p:nvSpPr>
            <p:cNvPr id="378" name="Freeform 6"/>
            <p:cNvSpPr>
              <a:spLocks/>
            </p:cNvSpPr>
            <p:nvPr/>
          </p:nvSpPr>
          <p:spPr bwMode="auto">
            <a:xfrm>
              <a:off x="778" y="1958"/>
              <a:ext cx="74" cy="389"/>
            </a:xfrm>
            <a:custGeom>
              <a:avLst/>
              <a:gdLst>
                <a:gd name="T0" fmla="*/ 0 w 74"/>
                <a:gd name="T1" fmla="*/ 17 h 388"/>
                <a:gd name="T2" fmla="*/ 74 w 74"/>
                <a:gd name="T3" fmla="*/ 0 h 388"/>
                <a:gd name="T4" fmla="*/ 74 w 74"/>
                <a:gd name="T5" fmla="*/ 351 h 388"/>
                <a:gd name="T6" fmla="*/ 0 w 74"/>
                <a:gd name="T7" fmla="*/ 422 h 388"/>
                <a:gd name="T8" fmla="*/ 0 w 74"/>
                <a:gd name="T9" fmla="*/ 17 h 38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388"/>
                <a:gd name="T17" fmla="*/ 74 w 74"/>
                <a:gd name="T18" fmla="*/ 388 h 38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388">
                  <a:moveTo>
                    <a:pt x="0" y="17"/>
                  </a:moveTo>
                  <a:lnTo>
                    <a:pt x="74" y="0"/>
                  </a:lnTo>
                  <a:lnTo>
                    <a:pt x="74" y="317"/>
                  </a:lnTo>
                  <a:lnTo>
                    <a:pt x="0" y="388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A0A0A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sp>
          <p:nvSpPr>
            <p:cNvPr id="379" name="Freeform 7"/>
            <p:cNvSpPr>
              <a:spLocks/>
            </p:cNvSpPr>
            <p:nvPr/>
          </p:nvSpPr>
          <p:spPr bwMode="auto">
            <a:xfrm>
              <a:off x="634" y="2263"/>
              <a:ext cx="144" cy="84"/>
            </a:xfrm>
            <a:custGeom>
              <a:avLst/>
              <a:gdLst>
                <a:gd name="T0" fmla="*/ 0 w 145"/>
                <a:gd name="T1" fmla="*/ 0 h 83"/>
                <a:gd name="T2" fmla="*/ 0 w 145"/>
                <a:gd name="T3" fmla="*/ 19 h 83"/>
                <a:gd name="T4" fmla="*/ 111 w 145"/>
                <a:gd name="T5" fmla="*/ 117 h 83"/>
                <a:gd name="T6" fmla="*/ 111 w 145"/>
                <a:gd name="T7" fmla="*/ 92 h 83"/>
                <a:gd name="T8" fmla="*/ 0 w 145"/>
                <a:gd name="T9" fmla="*/ 0 h 8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5"/>
                <a:gd name="T16" fmla="*/ 0 h 83"/>
                <a:gd name="T17" fmla="*/ 145 w 145"/>
                <a:gd name="T18" fmla="*/ 83 h 8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5" h="83">
                  <a:moveTo>
                    <a:pt x="0" y="0"/>
                  </a:moveTo>
                  <a:lnTo>
                    <a:pt x="0" y="19"/>
                  </a:lnTo>
                  <a:lnTo>
                    <a:pt x="145" y="83"/>
                  </a:lnTo>
                  <a:lnTo>
                    <a:pt x="145" y="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0A0A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sp>
          <p:nvSpPr>
            <p:cNvPr id="380" name="Freeform 8"/>
            <p:cNvSpPr>
              <a:spLocks/>
            </p:cNvSpPr>
            <p:nvPr/>
          </p:nvSpPr>
          <p:spPr bwMode="auto">
            <a:xfrm>
              <a:off x="632" y="1977"/>
              <a:ext cx="146" cy="345"/>
            </a:xfrm>
            <a:custGeom>
              <a:avLst/>
              <a:gdLst>
                <a:gd name="T0" fmla="*/ 0 w 146"/>
                <a:gd name="T1" fmla="*/ 2 h 345"/>
                <a:gd name="T2" fmla="*/ 0 w 146"/>
                <a:gd name="T3" fmla="*/ 285 h 345"/>
                <a:gd name="T4" fmla="*/ 146 w 146"/>
                <a:gd name="T5" fmla="*/ 345 h 345"/>
                <a:gd name="T6" fmla="*/ 146 w 146"/>
                <a:gd name="T7" fmla="*/ 0 h 345"/>
                <a:gd name="T8" fmla="*/ 0 w 146"/>
                <a:gd name="T9" fmla="*/ 2 h 34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6"/>
                <a:gd name="T16" fmla="*/ 0 h 345"/>
                <a:gd name="T17" fmla="*/ 146 w 146"/>
                <a:gd name="T18" fmla="*/ 345 h 34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6" h="345">
                  <a:moveTo>
                    <a:pt x="0" y="2"/>
                  </a:moveTo>
                  <a:lnTo>
                    <a:pt x="0" y="285"/>
                  </a:lnTo>
                  <a:lnTo>
                    <a:pt x="146" y="345"/>
                  </a:lnTo>
                  <a:lnTo>
                    <a:pt x="14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C0C0C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grpSp>
          <p:nvGrpSpPr>
            <p:cNvPr id="381" name="Group 9"/>
            <p:cNvGrpSpPr>
              <a:grpSpLocks/>
            </p:cNvGrpSpPr>
            <p:nvPr/>
          </p:nvGrpSpPr>
          <p:grpSpPr bwMode="auto">
            <a:xfrm>
              <a:off x="637" y="1991"/>
              <a:ext cx="135" cy="144"/>
              <a:chOff x="637" y="1991"/>
              <a:chExt cx="135" cy="144"/>
            </a:xfrm>
          </p:grpSpPr>
          <p:sp>
            <p:nvSpPr>
              <p:cNvPr id="466" name="Freeform 10"/>
              <p:cNvSpPr>
                <a:spLocks/>
              </p:cNvSpPr>
              <p:nvPr/>
            </p:nvSpPr>
            <p:spPr bwMode="auto">
              <a:xfrm>
                <a:off x="637" y="1991"/>
                <a:ext cx="135" cy="144"/>
              </a:xfrm>
              <a:custGeom>
                <a:avLst/>
                <a:gdLst>
                  <a:gd name="T0" fmla="*/ 0 w 135"/>
                  <a:gd name="T1" fmla="*/ 0 h 143"/>
                  <a:gd name="T2" fmla="*/ 135 w 135"/>
                  <a:gd name="T3" fmla="*/ 0 h 143"/>
                  <a:gd name="T4" fmla="*/ 135 w 135"/>
                  <a:gd name="T5" fmla="*/ 177 h 143"/>
                  <a:gd name="T6" fmla="*/ 0 w 135"/>
                  <a:gd name="T7" fmla="*/ 152 h 143"/>
                  <a:gd name="T8" fmla="*/ 0 w 135"/>
                  <a:gd name="T9" fmla="*/ 0 h 1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5"/>
                  <a:gd name="T16" fmla="*/ 0 h 143"/>
                  <a:gd name="T17" fmla="*/ 135 w 135"/>
                  <a:gd name="T18" fmla="*/ 143 h 1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5" h="143">
                    <a:moveTo>
                      <a:pt x="0" y="0"/>
                    </a:moveTo>
                    <a:lnTo>
                      <a:pt x="135" y="0"/>
                    </a:lnTo>
                    <a:lnTo>
                      <a:pt x="135" y="143"/>
                    </a:lnTo>
                    <a:lnTo>
                      <a:pt x="0" y="11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 w="1588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grpSp>
            <p:nvGrpSpPr>
              <p:cNvPr id="467" name="Group 11"/>
              <p:cNvGrpSpPr>
                <a:grpSpLocks/>
              </p:cNvGrpSpPr>
              <p:nvPr/>
            </p:nvGrpSpPr>
            <p:grpSpPr bwMode="auto">
              <a:xfrm>
                <a:off x="641" y="1995"/>
                <a:ext cx="127" cy="136"/>
                <a:chOff x="641" y="1995"/>
                <a:chExt cx="127" cy="136"/>
              </a:xfrm>
            </p:grpSpPr>
            <p:sp>
              <p:nvSpPr>
                <p:cNvPr id="468" name="Freeform 12"/>
                <p:cNvSpPr>
                  <a:spLocks/>
                </p:cNvSpPr>
                <p:nvPr/>
              </p:nvSpPr>
              <p:spPr bwMode="auto">
                <a:xfrm>
                  <a:off x="641" y="1995"/>
                  <a:ext cx="126" cy="133"/>
                </a:xfrm>
                <a:custGeom>
                  <a:avLst/>
                  <a:gdLst>
                    <a:gd name="T0" fmla="*/ 0 w 122"/>
                    <a:gd name="T1" fmla="*/ 0 h 127"/>
                    <a:gd name="T2" fmla="*/ 0 w 122"/>
                    <a:gd name="T3" fmla="*/ 504 h 127"/>
                    <a:gd name="T4" fmla="*/ 277 w 122"/>
                    <a:gd name="T5" fmla="*/ 611 h 127"/>
                    <a:gd name="T6" fmla="*/ 277 w 122"/>
                    <a:gd name="T7" fmla="*/ 3 h 127"/>
                    <a:gd name="T8" fmla="*/ 0 w 122"/>
                    <a:gd name="T9" fmla="*/ 0 h 1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2"/>
                    <a:gd name="T16" fmla="*/ 0 h 127"/>
                    <a:gd name="T17" fmla="*/ 122 w 122"/>
                    <a:gd name="T18" fmla="*/ 127 h 12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2" h="127">
                      <a:moveTo>
                        <a:pt x="0" y="0"/>
                      </a:moveTo>
                      <a:lnTo>
                        <a:pt x="0" y="105"/>
                      </a:lnTo>
                      <a:lnTo>
                        <a:pt x="122" y="127"/>
                      </a:lnTo>
                      <a:lnTo>
                        <a:pt x="122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69" name="Freeform 13"/>
                <p:cNvSpPr>
                  <a:spLocks/>
                </p:cNvSpPr>
                <p:nvPr/>
              </p:nvSpPr>
              <p:spPr bwMode="auto">
                <a:xfrm>
                  <a:off x="641" y="1998"/>
                  <a:ext cx="126" cy="133"/>
                </a:xfrm>
                <a:custGeom>
                  <a:avLst/>
                  <a:gdLst>
                    <a:gd name="T0" fmla="*/ 0 w 122"/>
                    <a:gd name="T1" fmla="*/ 0 h 128"/>
                    <a:gd name="T2" fmla="*/ 0 w 122"/>
                    <a:gd name="T3" fmla="*/ 383 h 128"/>
                    <a:gd name="T4" fmla="*/ 277 w 122"/>
                    <a:gd name="T5" fmla="*/ 473 h 128"/>
                    <a:gd name="T6" fmla="*/ 277 w 122"/>
                    <a:gd name="T7" fmla="*/ 458 h 128"/>
                    <a:gd name="T8" fmla="*/ 277 w 122"/>
                    <a:gd name="T9" fmla="*/ 5 h 128"/>
                    <a:gd name="T10" fmla="*/ 0 w 122"/>
                    <a:gd name="T11" fmla="*/ 0 h 12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22"/>
                    <a:gd name="T19" fmla="*/ 0 h 128"/>
                    <a:gd name="T20" fmla="*/ 122 w 122"/>
                    <a:gd name="T21" fmla="*/ 128 h 12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22" h="128">
                      <a:moveTo>
                        <a:pt x="0" y="0"/>
                      </a:moveTo>
                      <a:lnTo>
                        <a:pt x="0" y="105"/>
                      </a:lnTo>
                      <a:lnTo>
                        <a:pt x="122" y="128"/>
                      </a:lnTo>
                      <a:lnTo>
                        <a:pt x="122" y="125"/>
                      </a:lnTo>
                      <a:lnTo>
                        <a:pt x="122" y="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0" name="Freeform 14"/>
                <p:cNvSpPr>
                  <a:spLocks/>
                </p:cNvSpPr>
                <p:nvPr/>
              </p:nvSpPr>
              <p:spPr bwMode="auto">
                <a:xfrm>
                  <a:off x="641" y="1995"/>
                  <a:ext cx="126" cy="133"/>
                </a:xfrm>
                <a:custGeom>
                  <a:avLst/>
                  <a:gdLst>
                    <a:gd name="T0" fmla="*/ 0 w 122"/>
                    <a:gd name="T1" fmla="*/ 0 h 126"/>
                    <a:gd name="T2" fmla="*/ 0 w 122"/>
                    <a:gd name="T3" fmla="*/ 667 h 126"/>
                    <a:gd name="T4" fmla="*/ 277 w 122"/>
                    <a:gd name="T5" fmla="*/ 797 h 126"/>
                    <a:gd name="T6" fmla="*/ 277 w 122"/>
                    <a:gd name="T7" fmla="*/ 3 h 126"/>
                    <a:gd name="T8" fmla="*/ 0 w 122"/>
                    <a:gd name="T9" fmla="*/ 0 h 1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2"/>
                    <a:gd name="T16" fmla="*/ 0 h 126"/>
                    <a:gd name="T17" fmla="*/ 122 w 122"/>
                    <a:gd name="T18" fmla="*/ 126 h 1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2" h="126">
                      <a:moveTo>
                        <a:pt x="0" y="0"/>
                      </a:moveTo>
                      <a:lnTo>
                        <a:pt x="0" y="105"/>
                      </a:lnTo>
                      <a:lnTo>
                        <a:pt x="122" y="126"/>
                      </a:lnTo>
                      <a:lnTo>
                        <a:pt x="122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6060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grpSp>
              <p:nvGrpSpPr>
                <p:cNvPr id="471" name="Group 15"/>
                <p:cNvGrpSpPr>
                  <a:grpSpLocks/>
                </p:cNvGrpSpPr>
                <p:nvPr/>
              </p:nvGrpSpPr>
              <p:grpSpPr bwMode="auto">
                <a:xfrm>
                  <a:off x="642" y="1998"/>
                  <a:ext cx="125" cy="123"/>
                  <a:chOff x="642" y="1998"/>
                  <a:chExt cx="125" cy="123"/>
                </a:xfrm>
              </p:grpSpPr>
              <p:sp>
                <p:nvSpPr>
                  <p:cNvPr id="521" name="Freeform 16"/>
                  <p:cNvSpPr>
                    <a:spLocks/>
                  </p:cNvSpPr>
                  <p:nvPr/>
                </p:nvSpPr>
                <p:spPr bwMode="auto">
                  <a:xfrm>
                    <a:off x="642" y="1998"/>
                    <a:ext cx="9" cy="102"/>
                  </a:xfrm>
                  <a:custGeom>
                    <a:avLst/>
                    <a:gdLst>
                      <a:gd name="T0" fmla="*/ 0 w 7"/>
                      <a:gd name="T1" fmla="*/ 0 h 102"/>
                      <a:gd name="T2" fmla="*/ 0 w 7"/>
                      <a:gd name="T3" fmla="*/ 101 h 102"/>
                      <a:gd name="T4" fmla="*/ 35178 w 7"/>
                      <a:gd name="T5" fmla="*/ 102 h 102"/>
                      <a:gd name="T6" fmla="*/ 35178 w 7"/>
                      <a:gd name="T7" fmla="*/ 0 h 102"/>
                      <a:gd name="T8" fmla="*/ 0 w 7"/>
                      <a:gd name="T9" fmla="*/ 0 h 10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2"/>
                      <a:gd name="T17" fmla="*/ 7 w 7"/>
                      <a:gd name="T18" fmla="*/ 102 h 10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2">
                        <a:moveTo>
                          <a:pt x="0" y="0"/>
                        </a:moveTo>
                        <a:lnTo>
                          <a:pt x="0" y="101"/>
                        </a:lnTo>
                        <a:lnTo>
                          <a:pt x="7" y="102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2" name="Freeform 17"/>
                  <p:cNvSpPr>
                    <a:spLocks/>
                  </p:cNvSpPr>
                  <p:nvPr/>
                </p:nvSpPr>
                <p:spPr bwMode="auto">
                  <a:xfrm>
                    <a:off x="653" y="1998"/>
                    <a:ext cx="7" cy="107"/>
                  </a:xfrm>
                  <a:custGeom>
                    <a:avLst/>
                    <a:gdLst>
                      <a:gd name="T0" fmla="*/ 0 w 6"/>
                      <a:gd name="T1" fmla="*/ 0 h 103"/>
                      <a:gd name="T2" fmla="*/ 0 w 6"/>
                      <a:gd name="T3" fmla="*/ 370 h 103"/>
                      <a:gd name="T4" fmla="*/ 1210 w 6"/>
                      <a:gd name="T5" fmla="*/ 377 h 103"/>
                      <a:gd name="T6" fmla="*/ 1210 w 6"/>
                      <a:gd name="T7" fmla="*/ 0 h 103"/>
                      <a:gd name="T8" fmla="*/ 0 w 6"/>
                      <a:gd name="T9" fmla="*/ 0 h 10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"/>
                      <a:gd name="T16" fmla="*/ 0 h 103"/>
                      <a:gd name="T17" fmla="*/ 6 w 6"/>
                      <a:gd name="T18" fmla="*/ 103 h 10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" h="103">
                        <a:moveTo>
                          <a:pt x="0" y="0"/>
                        </a:moveTo>
                        <a:lnTo>
                          <a:pt x="0" y="102"/>
                        </a:lnTo>
                        <a:lnTo>
                          <a:pt x="6" y="103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3" name="Freeform 18"/>
                  <p:cNvSpPr>
                    <a:spLocks/>
                  </p:cNvSpPr>
                  <p:nvPr/>
                </p:nvSpPr>
                <p:spPr bwMode="auto">
                  <a:xfrm>
                    <a:off x="660" y="1998"/>
                    <a:ext cx="10" cy="107"/>
                  </a:xfrm>
                  <a:custGeom>
                    <a:avLst/>
                    <a:gdLst>
                      <a:gd name="T0" fmla="*/ 0 w 7"/>
                      <a:gd name="T1" fmla="*/ 0 h 104"/>
                      <a:gd name="T2" fmla="*/ 0 w 7"/>
                      <a:gd name="T3" fmla="*/ 270 h 104"/>
                      <a:gd name="T4" fmla="*/ 35178 w 7"/>
                      <a:gd name="T5" fmla="*/ 272 h 104"/>
                      <a:gd name="T6" fmla="*/ 35178 w 7"/>
                      <a:gd name="T7" fmla="*/ 0 h 104"/>
                      <a:gd name="T8" fmla="*/ 0 w 7"/>
                      <a:gd name="T9" fmla="*/ 0 h 10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4"/>
                      <a:gd name="T17" fmla="*/ 7 w 7"/>
                      <a:gd name="T18" fmla="*/ 104 h 10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4">
                        <a:moveTo>
                          <a:pt x="0" y="0"/>
                        </a:moveTo>
                        <a:lnTo>
                          <a:pt x="0" y="103"/>
                        </a:lnTo>
                        <a:lnTo>
                          <a:pt x="7" y="104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4" name="Freeform 19"/>
                  <p:cNvSpPr>
                    <a:spLocks/>
                  </p:cNvSpPr>
                  <p:nvPr/>
                </p:nvSpPr>
                <p:spPr bwMode="auto">
                  <a:xfrm>
                    <a:off x="670" y="1998"/>
                    <a:ext cx="7" cy="107"/>
                  </a:xfrm>
                  <a:custGeom>
                    <a:avLst/>
                    <a:gdLst>
                      <a:gd name="T0" fmla="*/ 0 w 7"/>
                      <a:gd name="T1" fmla="*/ 0 h 105"/>
                      <a:gd name="T2" fmla="*/ 0 w 7"/>
                      <a:gd name="T3" fmla="*/ 194 h 105"/>
                      <a:gd name="T4" fmla="*/ 7 w 7"/>
                      <a:gd name="T5" fmla="*/ 196 h 105"/>
                      <a:gd name="T6" fmla="*/ 7 w 7"/>
                      <a:gd name="T7" fmla="*/ 0 h 105"/>
                      <a:gd name="T8" fmla="*/ 0 w 7"/>
                      <a:gd name="T9" fmla="*/ 0 h 10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5"/>
                      <a:gd name="T17" fmla="*/ 7 w 7"/>
                      <a:gd name="T18" fmla="*/ 105 h 10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5">
                        <a:moveTo>
                          <a:pt x="0" y="0"/>
                        </a:moveTo>
                        <a:lnTo>
                          <a:pt x="0" y="104"/>
                        </a:lnTo>
                        <a:lnTo>
                          <a:pt x="7" y="105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5" name="Freeform 20"/>
                  <p:cNvSpPr>
                    <a:spLocks/>
                  </p:cNvSpPr>
                  <p:nvPr/>
                </p:nvSpPr>
                <p:spPr bwMode="auto">
                  <a:xfrm>
                    <a:off x="681" y="1998"/>
                    <a:ext cx="5" cy="109"/>
                  </a:xfrm>
                  <a:custGeom>
                    <a:avLst/>
                    <a:gdLst>
                      <a:gd name="T0" fmla="*/ 0 w 6"/>
                      <a:gd name="T1" fmla="*/ 0 h 108"/>
                      <a:gd name="T2" fmla="*/ 0 w 6"/>
                      <a:gd name="T3" fmla="*/ 139 h 108"/>
                      <a:gd name="T4" fmla="*/ 3 w 6"/>
                      <a:gd name="T5" fmla="*/ 142 h 108"/>
                      <a:gd name="T6" fmla="*/ 3 w 6"/>
                      <a:gd name="T7" fmla="*/ 0 h 108"/>
                      <a:gd name="T8" fmla="*/ 0 w 6"/>
                      <a:gd name="T9" fmla="*/ 0 h 10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"/>
                      <a:gd name="T16" fmla="*/ 0 h 108"/>
                      <a:gd name="T17" fmla="*/ 6 w 6"/>
                      <a:gd name="T18" fmla="*/ 108 h 10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" h="108">
                        <a:moveTo>
                          <a:pt x="0" y="0"/>
                        </a:moveTo>
                        <a:lnTo>
                          <a:pt x="0" y="105"/>
                        </a:lnTo>
                        <a:lnTo>
                          <a:pt x="6" y="108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6" name="Freeform 21"/>
                  <p:cNvSpPr>
                    <a:spLocks/>
                  </p:cNvSpPr>
                  <p:nvPr/>
                </p:nvSpPr>
                <p:spPr bwMode="auto">
                  <a:xfrm>
                    <a:off x="687" y="1998"/>
                    <a:ext cx="7" cy="114"/>
                  </a:xfrm>
                  <a:custGeom>
                    <a:avLst/>
                    <a:gdLst>
                      <a:gd name="T0" fmla="*/ 0 w 7"/>
                      <a:gd name="T1" fmla="*/ 0 h 109"/>
                      <a:gd name="T2" fmla="*/ 0 w 7"/>
                      <a:gd name="T3" fmla="*/ 495 h 109"/>
                      <a:gd name="T4" fmla="*/ 6 w 7"/>
                      <a:gd name="T5" fmla="*/ 500 h 109"/>
                      <a:gd name="T6" fmla="*/ 7 w 7"/>
                      <a:gd name="T7" fmla="*/ 1 h 109"/>
                      <a:gd name="T8" fmla="*/ 0 w 7"/>
                      <a:gd name="T9" fmla="*/ 0 h 1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9"/>
                      <a:gd name="T17" fmla="*/ 7 w 7"/>
                      <a:gd name="T18" fmla="*/ 109 h 10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9">
                        <a:moveTo>
                          <a:pt x="0" y="0"/>
                        </a:moveTo>
                        <a:lnTo>
                          <a:pt x="0" y="108"/>
                        </a:lnTo>
                        <a:lnTo>
                          <a:pt x="6" y="109"/>
                        </a:lnTo>
                        <a:lnTo>
                          <a:pt x="7" y="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7" name="Freeform 22"/>
                  <p:cNvSpPr>
                    <a:spLocks/>
                  </p:cNvSpPr>
                  <p:nvPr/>
                </p:nvSpPr>
                <p:spPr bwMode="auto">
                  <a:xfrm>
                    <a:off x="696" y="2000"/>
                    <a:ext cx="7" cy="109"/>
                  </a:xfrm>
                  <a:custGeom>
                    <a:avLst/>
                    <a:gdLst>
                      <a:gd name="T0" fmla="*/ 0 w 7"/>
                      <a:gd name="T1" fmla="*/ 0 h 109"/>
                      <a:gd name="T2" fmla="*/ 0 w 7"/>
                      <a:gd name="T3" fmla="*/ 108 h 109"/>
                      <a:gd name="T4" fmla="*/ 7 w 7"/>
                      <a:gd name="T5" fmla="*/ 109 h 109"/>
                      <a:gd name="T6" fmla="*/ 7 w 7"/>
                      <a:gd name="T7" fmla="*/ 0 h 109"/>
                      <a:gd name="T8" fmla="*/ 0 w 7"/>
                      <a:gd name="T9" fmla="*/ 0 h 1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9"/>
                      <a:gd name="T17" fmla="*/ 7 w 7"/>
                      <a:gd name="T18" fmla="*/ 109 h 10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9">
                        <a:moveTo>
                          <a:pt x="0" y="0"/>
                        </a:moveTo>
                        <a:lnTo>
                          <a:pt x="0" y="108"/>
                        </a:lnTo>
                        <a:lnTo>
                          <a:pt x="7" y="109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8" name="Freeform 23"/>
                  <p:cNvSpPr>
                    <a:spLocks/>
                  </p:cNvSpPr>
                  <p:nvPr/>
                </p:nvSpPr>
                <p:spPr bwMode="auto">
                  <a:xfrm>
                    <a:off x="706" y="2000"/>
                    <a:ext cx="5" cy="114"/>
                  </a:xfrm>
                  <a:custGeom>
                    <a:avLst/>
                    <a:gdLst>
                      <a:gd name="T0" fmla="*/ 0 w 6"/>
                      <a:gd name="T1" fmla="*/ 0 h 112"/>
                      <a:gd name="T2" fmla="*/ 0 w 6"/>
                      <a:gd name="T3" fmla="*/ 195 h 112"/>
                      <a:gd name="T4" fmla="*/ 3 w 6"/>
                      <a:gd name="T5" fmla="*/ 201 h 112"/>
                      <a:gd name="T6" fmla="*/ 3 w 6"/>
                      <a:gd name="T7" fmla="*/ 0 h 112"/>
                      <a:gd name="T8" fmla="*/ 0 w 6"/>
                      <a:gd name="T9" fmla="*/ 0 h 11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"/>
                      <a:gd name="T16" fmla="*/ 0 h 112"/>
                      <a:gd name="T17" fmla="*/ 6 w 6"/>
                      <a:gd name="T18" fmla="*/ 112 h 11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" h="112">
                        <a:moveTo>
                          <a:pt x="0" y="0"/>
                        </a:moveTo>
                        <a:lnTo>
                          <a:pt x="0" y="109"/>
                        </a:lnTo>
                        <a:lnTo>
                          <a:pt x="6" y="112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9" name="Freeform 24"/>
                  <p:cNvSpPr>
                    <a:spLocks/>
                  </p:cNvSpPr>
                  <p:nvPr/>
                </p:nvSpPr>
                <p:spPr bwMode="auto">
                  <a:xfrm>
                    <a:off x="715" y="2000"/>
                    <a:ext cx="7" cy="114"/>
                  </a:xfrm>
                  <a:custGeom>
                    <a:avLst/>
                    <a:gdLst>
                      <a:gd name="T0" fmla="*/ 0 w 7"/>
                      <a:gd name="T1" fmla="*/ 0 h 113"/>
                      <a:gd name="T2" fmla="*/ 0 w 7"/>
                      <a:gd name="T3" fmla="*/ 146 h 113"/>
                      <a:gd name="T4" fmla="*/ 7 w 7"/>
                      <a:gd name="T5" fmla="*/ 147 h 113"/>
                      <a:gd name="T6" fmla="*/ 7 w 7"/>
                      <a:gd name="T7" fmla="*/ 0 h 113"/>
                      <a:gd name="T8" fmla="*/ 0 w 7"/>
                      <a:gd name="T9" fmla="*/ 0 h 11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3"/>
                      <a:gd name="T17" fmla="*/ 7 w 7"/>
                      <a:gd name="T18" fmla="*/ 113 h 11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3">
                        <a:moveTo>
                          <a:pt x="0" y="0"/>
                        </a:moveTo>
                        <a:lnTo>
                          <a:pt x="0" y="112"/>
                        </a:lnTo>
                        <a:lnTo>
                          <a:pt x="7" y="113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30" name="Freeform 25"/>
                  <p:cNvSpPr>
                    <a:spLocks/>
                  </p:cNvSpPr>
                  <p:nvPr/>
                </p:nvSpPr>
                <p:spPr bwMode="auto">
                  <a:xfrm>
                    <a:off x="724" y="2000"/>
                    <a:ext cx="5" cy="114"/>
                  </a:xfrm>
                  <a:custGeom>
                    <a:avLst/>
                    <a:gdLst>
                      <a:gd name="T0" fmla="*/ 0 w 6"/>
                      <a:gd name="T1" fmla="*/ 0 h 114"/>
                      <a:gd name="T2" fmla="*/ 0 w 6"/>
                      <a:gd name="T3" fmla="*/ 113 h 114"/>
                      <a:gd name="T4" fmla="*/ 3 w 6"/>
                      <a:gd name="T5" fmla="*/ 114 h 114"/>
                      <a:gd name="T6" fmla="*/ 3 w 6"/>
                      <a:gd name="T7" fmla="*/ 0 h 114"/>
                      <a:gd name="T8" fmla="*/ 0 w 6"/>
                      <a:gd name="T9" fmla="*/ 0 h 11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"/>
                      <a:gd name="T16" fmla="*/ 0 h 114"/>
                      <a:gd name="T17" fmla="*/ 6 w 6"/>
                      <a:gd name="T18" fmla="*/ 114 h 11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" h="114">
                        <a:moveTo>
                          <a:pt x="0" y="0"/>
                        </a:moveTo>
                        <a:lnTo>
                          <a:pt x="0" y="113"/>
                        </a:lnTo>
                        <a:lnTo>
                          <a:pt x="6" y="114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31" name="Freeform 26"/>
                  <p:cNvSpPr>
                    <a:spLocks/>
                  </p:cNvSpPr>
                  <p:nvPr/>
                </p:nvSpPr>
                <p:spPr bwMode="auto">
                  <a:xfrm>
                    <a:off x="732" y="2002"/>
                    <a:ext cx="7" cy="114"/>
                  </a:xfrm>
                  <a:custGeom>
                    <a:avLst/>
                    <a:gdLst>
                      <a:gd name="T0" fmla="*/ 0 w 7"/>
                      <a:gd name="T1" fmla="*/ 0 h 114"/>
                      <a:gd name="T2" fmla="*/ 0 w 7"/>
                      <a:gd name="T3" fmla="*/ 113 h 114"/>
                      <a:gd name="T4" fmla="*/ 7 w 7"/>
                      <a:gd name="T5" fmla="*/ 114 h 114"/>
                      <a:gd name="T6" fmla="*/ 7 w 7"/>
                      <a:gd name="T7" fmla="*/ 0 h 114"/>
                      <a:gd name="T8" fmla="*/ 0 w 7"/>
                      <a:gd name="T9" fmla="*/ 0 h 11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4"/>
                      <a:gd name="T17" fmla="*/ 7 w 7"/>
                      <a:gd name="T18" fmla="*/ 114 h 11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4">
                        <a:moveTo>
                          <a:pt x="0" y="0"/>
                        </a:moveTo>
                        <a:lnTo>
                          <a:pt x="0" y="113"/>
                        </a:lnTo>
                        <a:lnTo>
                          <a:pt x="7" y="114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32" name="Freeform 27"/>
                  <p:cNvSpPr>
                    <a:spLocks/>
                  </p:cNvSpPr>
                  <p:nvPr/>
                </p:nvSpPr>
                <p:spPr bwMode="auto">
                  <a:xfrm>
                    <a:off x="741" y="2002"/>
                    <a:ext cx="9" cy="116"/>
                  </a:xfrm>
                  <a:custGeom>
                    <a:avLst/>
                    <a:gdLst>
                      <a:gd name="T0" fmla="*/ 0 w 7"/>
                      <a:gd name="T1" fmla="*/ 0 h 115"/>
                      <a:gd name="T2" fmla="*/ 0 w 7"/>
                      <a:gd name="T3" fmla="*/ 148 h 115"/>
                      <a:gd name="T4" fmla="*/ 35178 w 7"/>
                      <a:gd name="T5" fmla="*/ 149 h 115"/>
                      <a:gd name="T6" fmla="*/ 35178 w 7"/>
                      <a:gd name="T7" fmla="*/ 0 h 115"/>
                      <a:gd name="T8" fmla="*/ 0 w 7"/>
                      <a:gd name="T9" fmla="*/ 0 h 11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5"/>
                      <a:gd name="T17" fmla="*/ 7 w 7"/>
                      <a:gd name="T18" fmla="*/ 115 h 11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5">
                        <a:moveTo>
                          <a:pt x="0" y="0"/>
                        </a:moveTo>
                        <a:lnTo>
                          <a:pt x="0" y="114"/>
                        </a:lnTo>
                        <a:lnTo>
                          <a:pt x="7" y="115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33" name="Freeform 28"/>
                  <p:cNvSpPr>
                    <a:spLocks/>
                  </p:cNvSpPr>
                  <p:nvPr/>
                </p:nvSpPr>
                <p:spPr bwMode="auto">
                  <a:xfrm>
                    <a:off x="752" y="2002"/>
                    <a:ext cx="7" cy="119"/>
                  </a:xfrm>
                  <a:custGeom>
                    <a:avLst/>
                    <a:gdLst>
                      <a:gd name="T0" fmla="*/ 0 w 7"/>
                      <a:gd name="T1" fmla="*/ 0 h 117"/>
                      <a:gd name="T2" fmla="*/ 0 w 7"/>
                      <a:gd name="T3" fmla="*/ 201 h 117"/>
                      <a:gd name="T4" fmla="*/ 7 w 7"/>
                      <a:gd name="T5" fmla="*/ 204 h 117"/>
                      <a:gd name="T6" fmla="*/ 7 w 7"/>
                      <a:gd name="T7" fmla="*/ 0 h 117"/>
                      <a:gd name="T8" fmla="*/ 0 w 7"/>
                      <a:gd name="T9" fmla="*/ 0 h 1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7"/>
                      <a:gd name="T17" fmla="*/ 7 w 7"/>
                      <a:gd name="T18" fmla="*/ 117 h 1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7">
                        <a:moveTo>
                          <a:pt x="0" y="0"/>
                        </a:moveTo>
                        <a:lnTo>
                          <a:pt x="0" y="115"/>
                        </a:lnTo>
                        <a:lnTo>
                          <a:pt x="7" y="117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34" name="Freeform 29"/>
                  <p:cNvSpPr>
                    <a:spLocks/>
                  </p:cNvSpPr>
                  <p:nvPr/>
                </p:nvSpPr>
                <p:spPr bwMode="auto">
                  <a:xfrm>
                    <a:off x="758" y="2002"/>
                    <a:ext cx="9" cy="119"/>
                  </a:xfrm>
                  <a:custGeom>
                    <a:avLst/>
                    <a:gdLst>
                      <a:gd name="T0" fmla="*/ 0 w 7"/>
                      <a:gd name="T1" fmla="*/ 0 h 118"/>
                      <a:gd name="T2" fmla="*/ 0 w 7"/>
                      <a:gd name="T3" fmla="*/ 151 h 118"/>
                      <a:gd name="T4" fmla="*/ 35178 w 7"/>
                      <a:gd name="T5" fmla="*/ 152 h 118"/>
                      <a:gd name="T6" fmla="*/ 35178 w 7"/>
                      <a:gd name="T7" fmla="*/ 0 h 118"/>
                      <a:gd name="T8" fmla="*/ 0 w 7"/>
                      <a:gd name="T9" fmla="*/ 0 h 11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8"/>
                      <a:gd name="T17" fmla="*/ 7 w 7"/>
                      <a:gd name="T18" fmla="*/ 118 h 11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8">
                        <a:moveTo>
                          <a:pt x="0" y="0"/>
                        </a:moveTo>
                        <a:lnTo>
                          <a:pt x="0" y="117"/>
                        </a:lnTo>
                        <a:lnTo>
                          <a:pt x="7" y="118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</p:grpSp>
            <p:sp>
              <p:nvSpPr>
                <p:cNvPr id="472" name="Freeform 30"/>
                <p:cNvSpPr>
                  <a:spLocks/>
                </p:cNvSpPr>
                <p:nvPr/>
              </p:nvSpPr>
              <p:spPr bwMode="auto">
                <a:xfrm>
                  <a:off x="644" y="1998"/>
                  <a:ext cx="7" cy="0"/>
                </a:xfrm>
                <a:custGeom>
                  <a:avLst/>
                  <a:gdLst>
                    <a:gd name="T0" fmla="*/ 0 w 8"/>
                    <a:gd name="T1" fmla="*/ 0 h 1"/>
                    <a:gd name="T2" fmla="*/ 4 w 8"/>
                    <a:gd name="T3" fmla="*/ 0 h 1"/>
                    <a:gd name="T4" fmla="*/ 4 w 8"/>
                    <a:gd name="T5" fmla="*/ 0 h 1"/>
                    <a:gd name="T6" fmla="*/ 1 w 8"/>
                    <a:gd name="T7" fmla="*/ 0 h 1"/>
                    <a:gd name="T8" fmla="*/ 0 w 8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"/>
                    <a:gd name="T17" fmla="*/ 8 w 8"/>
                    <a:gd name="T18" fmla="*/ 0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3" name="Freeform 31"/>
                <p:cNvSpPr>
                  <a:spLocks/>
                </p:cNvSpPr>
                <p:nvPr/>
              </p:nvSpPr>
              <p:spPr bwMode="auto">
                <a:xfrm>
                  <a:off x="653" y="1998"/>
                  <a:ext cx="7" cy="2"/>
                </a:xfrm>
                <a:custGeom>
                  <a:avLst/>
                  <a:gdLst>
                    <a:gd name="T0" fmla="*/ 0 w 7"/>
                    <a:gd name="T1" fmla="*/ 0 h 1"/>
                    <a:gd name="T2" fmla="*/ 6 w 7"/>
                    <a:gd name="T3" fmla="*/ 2147483647 h 1"/>
                    <a:gd name="T4" fmla="*/ 7 w 7"/>
                    <a:gd name="T5" fmla="*/ 0 h 1"/>
                    <a:gd name="T6" fmla="*/ 0 w 7"/>
                    <a:gd name="T7" fmla="*/ 0 h 1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7"/>
                    <a:gd name="T13" fmla="*/ 0 h 1"/>
                    <a:gd name="T14" fmla="*/ 7 w 7"/>
                    <a:gd name="T15" fmla="*/ 1 h 1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7" h="1">
                      <a:moveTo>
                        <a:pt x="0" y="0"/>
                      </a:moveTo>
                      <a:lnTo>
                        <a:pt x="6" y="1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4" name="Freeform 32"/>
                <p:cNvSpPr>
                  <a:spLocks/>
                </p:cNvSpPr>
                <p:nvPr/>
              </p:nvSpPr>
              <p:spPr bwMode="auto">
                <a:xfrm>
                  <a:off x="661" y="1998"/>
                  <a:ext cx="7" cy="2"/>
                </a:xfrm>
                <a:custGeom>
                  <a:avLst/>
                  <a:gdLst>
                    <a:gd name="T0" fmla="*/ 0 w 8"/>
                    <a:gd name="T1" fmla="*/ 2147483647 h 1"/>
                    <a:gd name="T2" fmla="*/ 4 w 8"/>
                    <a:gd name="T3" fmla="*/ 2147483647 h 1"/>
                    <a:gd name="T4" fmla="*/ 4 w 8"/>
                    <a:gd name="T5" fmla="*/ 0 h 1"/>
                    <a:gd name="T6" fmla="*/ 1 w 8"/>
                    <a:gd name="T7" fmla="*/ 0 h 1"/>
                    <a:gd name="T8" fmla="*/ 0 w 8"/>
                    <a:gd name="T9" fmla="*/ 2147483647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"/>
                    <a:gd name="T17" fmla="*/ 8 w 8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5" name="Freeform 33"/>
                <p:cNvSpPr>
                  <a:spLocks/>
                </p:cNvSpPr>
                <p:nvPr/>
              </p:nvSpPr>
              <p:spPr bwMode="auto">
                <a:xfrm>
                  <a:off x="668" y="1998"/>
                  <a:ext cx="9" cy="2"/>
                </a:xfrm>
                <a:custGeom>
                  <a:avLst/>
                  <a:gdLst>
                    <a:gd name="T0" fmla="*/ 0 w 9"/>
                    <a:gd name="T1" fmla="*/ 2147483647 h 1"/>
                    <a:gd name="T2" fmla="*/ 7 w 9"/>
                    <a:gd name="T3" fmla="*/ 2147483647 h 1"/>
                    <a:gd name="T4" fmla="*/ 9 w 9"/>
                    <a:gd name="T5" fmla="*/ 0 h 1"/>
                    <a:gd name="T6" fmla="*/ 2 w 9"/>
                    <a:gd name="T7" fmla="*/ 0 h 1"/>
                    <a:gd name="T8" fmla="*/ 0 w 9"/>
                    <a:gd name="T9" fmla="*/ 2147483647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"/>
                    <a:gd name="T17" fmla="*/ 9 w 9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6" name="Freeform 34"/>
                <p:cNvSpPr>
                  <a:spLocks/>
                </p:cNvSpPr>
                <p:nvPr/>
              </p:nvSpPr>
              <p:spPr bwMode="auto">
                <a:xfrm>
                  <a:off x="679" y="1998"/>
                  <a:ext cx="7" cy="2"/>
                </a:xfrm>
                <a:custGeom>
                  <a:avLst/>
                  <a:gdLst>
                    <a:gd name="T0" fmla="*/ 0 w 7"/>
                    <a:gd name="T1" fmla="*/ 2147483647 h 1"/>
                    <a:gd name="T2" fmla="*/ 6 w 7"/>
                    <a:gd name="T3" fmla="*/ 2147483647 h 1"/>
                    <a:gd name="T4" fmla="*/ 7 w 7"/>
                    <a:gd name="T5" fmla="*/ 0 h 1"/>
                    <a:gd name="T6" fmla="*/ 0 w 7"/>
                    <a:gd name="T7" fmla="*/ 0 h 1"/>
                    <a:gd name="T8" fmla="*/ 0 w 7"/>
                    <a:gd name="T9" fmla="*/ 2147483647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"/>
                    <a:gd name="T17" fmla="*/ 7 w 7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">
                      <a:moveTo>
                        <a:pt x="0" y="1"/>
                      </a:moveTo>
                      <a:lnTo>
                        <a:pt x="6" y="1"/>
                      </a:lnTo>
                      <a:lnTo>
                        <a:pt x="7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7" name="Freeform 35"/>
                <p:cNvSpPr>
                  <a:spLocks/>
                </p:cNvSpPr>
                <p:nvPr/>
              </p:nvSpPr>
              <p:spPr bwMode="auto">
                <a:xfrm>
                  <a:off x="687" y="1998"/>
                  <a:ext cx="7" cy="2"/>
                </a:xfrm>
                <a:custGeom>
                  <a:avLst/>
                  <a:gdLst>
                    <a:gd name="T0" fmla="*/ 0 w 7"/>
                    <a:gd name="T1" fmla="*/ 2147483647 h 1"/>
                    <a:gd name="T2" fmla="*/ 7 w 7"/>
                    <a:gd name="T3" fmla="*/ 2147483647 h 1"/>
                    <a:gd name="T4" fmla="*/ 7 w 7"/>
                    <a:gd name="T5" fmla="*/ 0 h 1"/>
                    <a:gd name="T6" fmla="*/ 1 w 7"/>
                    <a:gd name="T7" fmla="*/ 0 h 1"/>
                    <a:gd name="T8" fmla="*/ 0 w 7"/>
                    <a:gd name="T9" fmla="*/ 2147483647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"/>
                    <a:gd name="T17" fmla="*/ 7 w 7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7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8" name="Freeform 36"/>
                <p:cNvSpPr>
                  <a:spLocks/>
                </p:cNvSpPr>
                <p:nvPr/>
              </p:nvSpPr>
              <p:spPr bwMode="auto">
                <a:xfrm>
                  <a:off x="696" y="2000"/>
                  <a:ext cx="7" cy="2"/>
                </a:xfrm>
                <a:custGeom>
                  <a:avLst/>
                  <a:gdLst>
                    <a:gd name="T0" fmla="*/ 0 w 7"/>
                    <a:gd name="T1" fmla="*/ 0 h 2"/>
                    <a:gd name="T2" fmla="*/ 6 w 7"/>
                    <a:gd name="T3" fmla="*/ 2 h 2"/>
                    <a:gd name="T4" fmla="*/ 7 w 7"/>
                    <a:gd name="T5" fmla="*/ 0 h 2"/>
                    <a:gd name="T6" fmla="*/ 0 w 7"/>
                    <a:gd name="T7" fmla="*/ 0 h 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7"/>
                    <a:gd name="T13" fmla="*/ 0 h 2"/>
                    <a:gd name="T14" fmla="*/ 7 w 7"/>
                    <a:gd name="T15" fmla="*/ 2 h 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7" h="2">
                      <a:moveTo>
                        <a:pt x="0" y="0"/>
                      </a:moveTo>
                      <a:lnTo>
                        <a:pt x="6" y="2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9" name="Freeform 37"/>
                <p:cNvSpPr>
                  <a:spLocks/>
                </p:cNvSpPr>
                <p:nvPr/>
              </p:nvSpPr>
              <p:spPr bwMode="auto">
                <a:xfrm>
                  <a:off x="705" y="2000"/>
                  <a:ext cx="7" cy="2"/>
                </a:xfrm>
                <a:custGeom>
                  <a:avLst/>
                  <a:gdLst>
                    <a:gd name="T0" fmla="*/ 0 w 7"/>
                    <a:gd name="T1" fmla="*/ 2 h 2"/>
                    <a:gd name="T2" fmla="*/ 7 w 7"/>
                    <a:gd name="T3" fmla="*/ 2 h 2"/>
                    <a:gd name="T4" fmla="*/ 7 w 7"/>
                    <a:gd name="T5" fmla="*/ 0 h 2"/>
                    <a:gd name="T6" fmla="*/ 1 w 7"/>
                    <a:gd name="T7" fmla="*/ 0 h 2"/>
                    <a:gd name="T8" fmla="*/ 0 w 7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2"/>
                    <a:gd name="T17" fmla="*/ 7 w 7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2">
                      <a:moveTo>
                        <a:pt x="0" y="2"/>
                      </a:move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80" name="Freeform 38"/>
                <p:cNvSpPr>
                  <a:spLocks/>
                </p:cNvSpPr>
                <p:nvPr/>
              </p:nvSpPr>
              <p:spPr bwMode="auto">
                <a:xfrm>
                  <a:off x="713" y="2000"/>
                  <a:ext cx="9" cy="2"/>
                </a:xfrm>
                <a:custGeom>
                  <a:avLst/>
                  <a:gdLst>
                    <a:gd name="T0" fmla="*/ 0 w 8"/>
                    <a:gd name="T1" fmla="*/ 2 h 2"/>
                    <a:gd name="T2" fmla="*/ 362 w 8"/>
                    <a:gd name="T3" fmla="*/ 2 h 2"/>
                    <a:gd name="T4" fmla="*/ 407 w 8"/>
                    <a:gd name="T5" fmla="*/ 0 h 2"/>
                    <a:gd name="T6" fmla="*/ 1 w 8"/>
                    <a:gd name="T7" fmla="*/ 0 h 2"/>
                    <a:gd name="T8" fmla="*/ 0 w 8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2"/>
                    <a:gd name="T17" fmla="*/ 8 w 8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2">
                      <a:moveTo>
                        <a:pt x="0" y="2"/>
                      </a:moveTo>
                      <a:lnTo>
                        <a:pt x="7" y="2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81" name="Freeform 39"/>
                <p:cNvSpPr>
                  <a:spLocks/>
                </p:cNvSpPr>
                <p:nvPr/>
              </p:nvSpPr>
              <p:spPr bwMode="auto">
                <a:xfrm>
                  <a:off x="722" y="2000"/>
                  <a:ext cx="7" cy="2"/>
                </a:xfrm>
                <a:custGeom>
                  <a:avLst/>
                  <a:gdLst>
                    <a:gd name="T0" fmla="*/ 0 w 7"/>
                    <a:gd name="T1" fmla="*/ 2 h 2"/>
                    <a:gd name="T2" fmla="*/ 6 w 7"/>
                    <a:gd name="T3" fmla="*/ 2 h 2"/>
                    <a:gd name="T4" fmla="*/ 7 w 7"/>
                    <a:gd name="T5" fmla="*/ 0 h 2"/>
                    <a:gd name="T6" fmla="*/ 1 w 7"/>
                    <a:gd name="T7" fmla="*/ 0 h 2"/>
                    <a:gd name="T8" fmla="*/ 0 w 7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2"/>
                    <a:gd name="T17" fmla="*/ 7 w 7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2">
                      <a:moveTo>
                        <a:pt x="0" y="2"/>
                      </a:moveTo>
                      <a:lnTo>
                        <a:pt x="6" y="2"/>
                      </a:lnTo>
                      <a:lnTo>
                        <a:pt x="7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82" name="Freeform 40"/>
                <p:cNvSpPr>
                  <a:spLocks/>
                </p:cNvSpPr>
                <p:nvPr/>
              </p:nvSpPr>
              <p:spPr bwMode="auto">
                <a:xfrm>
                  <a:off x="732" y="2002"/>
                  <a:ext cx="9" cy="0"/>
                </a:xfrm>
                <a:custGeom>
                  <a:avLst/>
                  <a:gdLst>
                    <a:gd name="T0" fmla="*/ 0 w 8"/>
                    <a:gd name="T1" fmla="*/ 0 h 1"/>
                    <a:gd name="T2" fmla="*/ 362 w 8"/>
                    <a:gd name="T3" fmla="*/ 0 h 1"/>
                    <a:gd name="T4" fmla="*/ 407 w 8"/>
                    <a:gd name="T5" fmla="*/ 0 h 1"/>
                    <a:gd name="T6" fmla="*/ 1 w 8"/>
                    <a:gd name="T7" fmla="*/ 0 h 1"/>
                    <a:gd name="T8" fmla="*/ 0 w 8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"/>
                    <a:gd name="T17" fmla="*/ 8 w 8"/>
                    <a:gd name="T18" fmla="*/ 0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">
                      <a:moveTo>
                        <a:pt x="0" y="0"/>
                      </a:move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83" name="Freeform 41"/>
                <p:cNvSpPr>
                  <a:spLocks/>
                </p:cNvSpPr>
                <p:nvPr/>
              </p:nvSpPr>
              <p:spPr bwMode="auto">
                <a:xfrm>
                  <a:off x="741" y="2002"/>
                  <a:ext cx="7" cy="0"/>
                </a:xfrm>
                <a:custGeom>
                  <a:avLst/>
                  <a:gdLst>
                    <a:gd name="T0" fmla="*/ 0 w 7"/>
                    <a:gd name="T1" fmla="*/ 0 h 1"/>
                    <a:gd name="T2" fmla="*/ 5 w 7"/>
                    <a:gd name="T3" fmla="*/ 0 h 1"/>
                    <a:gd name="T4" fmla="*/ 7 w 7"/>
                    <a:gd name="T5" fmla="*/ 0 h 1"/>
                    <a:gd name="T6" fmla="*/ 0 w 7"/>
                    <a:gd name="T7" fmla="*/ 0 h 1"/>
                    <a:gd name="T8" fmla="*/ 0 w 7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"/>
                    <a:gd name="T17" fmla="*/ 7 w 7"/>
                    <a:gd name="T18" fmla="*/ 0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">
                      <a:moveTo>
                        <a:pt x="0" y="1"/>
                      </a:moveTo>
                      <a:lnTo>
                        <a:pt x="5" y="1"/>
                      </a:lnTo>
                      <a:lnTo>
                        <a:pt x="7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84" name="Rectangle 42"/>
                <p:cNvSpPr>
                  <a:spLocks noChangeArrowheads="1"/>
                </p:cNvSpPr>
                <p:nvPr/>
              </p:nvSpPr>
              <p:spPr bwMode="auto">
                <a:xfrm>
                  <a:off x="748" y="2002"/>
                  <a:ext cx="10" cy="0"/>
                </a:xfrm>
                <a:prstGeom prst="rect">
                  <a:avLst/>
                </a:pr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lnSpc>
                      <a:spcPct val="100000"/>
                    </a:lnSpc>
                    <a:spcBef>
                      <a:spcPct val="0"/>
                    </a:spcBef>
                    <a:defRPr/>
                  </a:pPr>
                  <a:endParaRPr lang="en-GB" sz="4000">
                    <a:latin typeface="+mn-lt"/>
                    <a:ea typeface="ＭＳ Ｐゴシック" pitchFamily="34" charset="-128"/>
                    <a:cs typeface="Arial" pitchFamily="34" charset="0"/>
                  </a:endParaRPr>
                </a:p>
              </p:txBody>
            </p:sp>
            <p:sp>
              <p:nvSpPr>
                <p:cNvPr id="485" name="Freeform 43"/>
                <p:cNvSpPr>
                  <a:spLocks/>
                </p:cNvSpPr>
                <p:nvPr/>
              </p:nvSpPr>
              <p:spPr bwMode="auto">
                <a:xfrm>
                  <a:off x="758" y="2002"/>
                  <a:ext cx="9" cy="0"/>
                </a:xfrm>
                <a:custGeom>
                  <a:avLst/>
                  <a:gdLst>
                    <a:gd name="T0" fmla="*/ 0 w 8"/>
                    <a:gd name="T1" fmla="*/ 0 h 1"/>
                    <a:gd name="T2" fmla="*/ 362 w 8"/>
                    <a:gd name="T3" fmla="*/ 0 h 1"/>
                    <a:gd name="T4" fmla="*/ 407 w 8"/>
                    <a:gd name="T5" fmla="*/ 0 h 1"/>
                    <a:gd name="T6" fmla="*/ 1 w 8"/>
                    <a:gd name="T7" fmla="*/ 0 h 1"/>
                    <a:gd name="T8" fmla="*/ 0 w 8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"/>
                    <a:gd name="T17" fmla="*/ 8 w 8"/>
                    <a:gd name="T18" fmla="*/ 0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grpSp>
              <p:nvGrpSpPr>
                <p:cNvPr id="486" name="Group 44"/>
                <p:cNvGrpSpPr>
                  <a:grpSpLocks/>
                </p:cNvGrpSpPr>
                <p:nvPr/>
              </p:nvGrpSpPr>
              <p:grpSpPr bwMode="auto">
                <a:xfrm>
                  <a:off x="644" y="2098"/>
                  <a:ext cx="123" cy="28"/>
                  <a:chOff x="644" y="2098"/>
                  <a:chExt cx="123" cy="28"/>
                </a:xfrm>
              </p:grpSpPr>
              <p:sp>
                <p:nvSpPr>
                  <p:cNvPr id="507" name="Freeform 45"/>
                  <p:cNvSpPr>
                    <a:spLocks/>
                  </p:cNvSpPr>
                  <p:nvPr/>
                </p:nvSpPr>
                <p:spPr bwMode="auto">
                  <a:xfrm>
                    <a:off x="644" y="2098"/>
                    <a:ext cx="9" cy="7"/>
                  </a:xfrm>
                  <a:custGeom>
                    <a:avLst/>
                    <a:gdLst>
                      <a:gd name="T0" fmla="*/ 0 w 8"/>
                      <a:gd name="T1" fmla="*/ 0 h 4"/>
                      <a:gd name="T2" fmla="*/ 1 w 8"/>
                      <a:gd name="T3" fmla="*/ 417438595 h 4"/>
                      <a:gd name="T4" fmla="*/ 407 w 8"/>
                      <a:gd name="T5" fmla="*/ 730517541 h 4"/>
                      <a:gd name="T6" fmla="*/ 407 w 8"/>
                      <a:gd name="T7" fmla="*/ 417438595 h 4"/>
                      <a:gd name="T8" fmla="*/ 361 w 8"/>
                      <a:gd name="T9" fmla="*/ 0 h 4"/>
                      <a:gd name="T10" fmla="*/ 0 w 8"/>
                      <a:gd name="T11" fmla="*/ 0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4"/>
                      <a:gd name="T20" fmla="*/ 8 w 8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4">
                        <a:moveTo>
                          <a:pt x="0" y="0"/>
                        </a:moveTo>
                        <a:lnTo>
                          <a:pt x="1" y="2"/>
                        </a:lnTo>
                        <a:lnTo>
                          <a:pt x="8" y="4"/>
                        </a:lnTo>
                        <a:lnTo>
                          <a:pt x="8" y="2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08" name="Freeform 46"/>
                  <p:cNvSpPr>
                    <a:spLocks/>
                  </p:cNvSpPr>
                  <p:nvPr/>
                </p:nvSpPr>
                <p:spPr bwMode="auto">
                  <a:xfrm>
                    <a:off x="653" y="2100"/>
                    <a:ext cx="7" cy="2"/>
                  </a:xfrm>
                  <a:custGeom>
                    <a:avLst/>
                    <a:gdLst>
                      <a:gd name="T0" fmla="*/ 0 w 7"/>
                      <a:gd name="T1" fmla="*/ 1 h 3"/>
                      <a:gd name="T2" fmla="*/ 1 w 7"/>
                      <a:gd name="T3" fmla="*/ 1 h 3"/>
                      <a:gd name="T4" fmla="*/ 7 w 7"/>
                      <a:gd name="T5" fmla="*/ 1 h 3"/>
                      <a:gd name="T6" fmla="*/ 7 w 7"/>
                      <a:gd name="T7" fmla="*/ 1 h 3"/>
                      <a:gd name="T8" fmla="*/ 5 w 7"/>
                      <a:gd name="T9" fmla="*/ 0 h 3"/>
                      <a:gd name="T10" fmla="*/ 0 w 7"/>
                      <a:gd name="T11" fmla="*/ 1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3"/>
                      <a:gd name="T20" fmla="*/ 7 w 7"/>
                      <a:gd name="T21" fmla="*/ 3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3">
                        <a:moveTo>
                          <a:pt x="0" y="1"/>
                        </a:moveTo>
                        <a:lnTo>
                          <a:pt x="1" y="2"/>
                        </a:lnTo>
                        <a:lnTo>
                          <a:pt x="7" y="3"/>
                        </a:lnTo>
                        <a:lnTo>
                          <a:pt x="7" y="2"/>
                        </a:lnTo>
                        <a:lnTo>
                          <a:pt x="5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09" name="Freeform 47"/>
                  <p:cNvSpPr>
                    <a:spLocks/>
                  </p:cNvSpPr>
                  <p:nvPr/>
                </p:nvSpPr>
                <p:spPr bwMode="auto">
                  <a:xfrm>
                    <a:off x="661" y="2102"/>
                    <a:ext cx="9" cy="2"/>
                  </a:xfrm>
                  <a:custGeom>
                    <a:avLst/>
                    <a:gdLst>
                      <a:gd name="T0" fmla="*/ 0 w 8"/>
                      <a:gd name="T1" fmla="*/ 0 h 3"/>
                      <a:gd name="T2" fmla="*/ 1 w 8"/>
                      <a:gd name="T3" fmla="*/ 1 h 3"/>
                      <a:gd name="T4" fmla="*/ 407 w 8"/>
                      <a:gd name="T5" fmla="*/ 1 h 3"/>
                      <a:gd name="T6" fmla="*/ 407 w 8"/>
                      <a:gd name="T7" fmla="*/ 1 h 3"/>
                      <a:gd name="T8" fmla="*/ 361 w 8"/>
                      <a:gd name="T9" fmla="*/ 0 h 3"/>
                      <a:gd name="T10" fmla="*/ 0 w 8"/>
                      <a:gd name="T11" fmla="*/ 0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3"/>
                      <a:gd name="T20" fmla="*/ 8 w 8"/>
                      <a:gd name="T21" fmla="*/ 3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3">
                        <a:moveTo>
                          <a:pt x="0" y="0"/>
                        </a:moveTo>
                        <a:lnTo>
                          <a:pt x="1" y="1"/>
                        </a:lnTo>
                        <a:lnTo>
                          <a:pt x="8" y="3"/>
                        </a:lnTo>
                        <a:lnTo>
                          <a:pt x="8" y="1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0" name="Freeform 48"/>
                  <p:cNvSpPr>
                    <a:spLocks/>
                  </p:cNvSpPr>
                  <p:nvPr/>
                </p:nvSpPr>
                <p:spPr bwMode="auto">
                  <a:xfrm>
                    <a:off x="670" y="2102"/>
                    <a:ext cx="9" cy="7"/>
                  </a:xfrm>
                  <a:custGeom>
                    <a:avLst/>
                    <a:gdLst>
                      <a:gd name="T0" fmla="*/ 0 w 9"/>
                      <a:gd name="T1" fmla="*/ 0 h 4"/>
                      <a:gd name="T2" fmla="*/ 2 w 9"/>
                      <a:gd name="T3" fmla="*/ 238536340 h 4"/>
                      <a:gd name="T4" fmla="*/ 9 w 9"/>
                      <a:gd name="T5" fmla="*/ 730517541 h 4"/>
                      <a:gd name="T6" fmla="*/ 9 w 9"/>
                      <a:gd name="T7" fmla="*/ 238536340 h 4"/>
                      <a:gd name="T8" fmla="*/ 6 w 9"/>
                      <a:gd name="T9" fmla="*/ 0 h 4"/>
                      <a:gd name="T10" fmla="*/ 0 w 9"/>
                      <a:gd name="T11" fmla="*/ 0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9"/>
                      <a:gd name="T19" fmla="*/ 0 h 4"/>
                      <a:gd name="T20" fmla="*/ 9 w 9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9" h="4">
                        <a:moveTo>
                          <a:pt x="0" y="0"/>
                        </a:moveTo>
                        <a:lnTo>
                          <a:pt x="2" y="1"/>
                        </a:lnTo>
                        <a:lnTo>
                          <a:pt x="9" y="4"/>
                        </a:lnTo>
                        <a:lnTo>
                          <a:pt x="9" y="1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1" name="Freeform 49"/>
                  <p:cNvSpPr>
                    <a:spLocks/>
                  </p:cNvSpPr>
                  <p:nvPr/>
                </p:nvSpPr>
                <p:spPr bwMode="auto">
                  <a:xfrm>
                    <a:off x="679" y="2107"/>
                    <a:ext cx="10" cy="5"/>
                  </a:xfrm>
                  <a:custGeom>
                    <a:avLst/>
                    <a:gdLst>
                      <a:gd name="T0" fmla="*/ 0 w 7"/>
                      <a:gd name="T1" fmla="*/ 1 h 4"/>
                      <a:gd name="T2" fmla="*/ 1 w 7"/>
                      <a:gd name="T3" fmla="*/ 6161 h 4"/>
                      <a:gd name="T4" fmla="*/ 1277047 w 7"/>
                      <a:gd name="T5" fmla="*/ 7701 h 4"/>
                      <a:gd name="T6" fmla="*/ 1277047 w 7"/>
                      <a:gd name="T7" fmla="*/ 1 h 4"/>
                      <a:gd name="T8" fmla="*/ 1216580 w 7"/>
                      <a:gd name="T9" fmla="*/ 0 h 4"/>
                      <a:gd name="T10" fmla="*/ 0 w 7"/>
                      <a:gd name="T11" fmla="*/ 1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4"/>
                      <a:gd name="T20" fmla="*/ 7 w 7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4">
                        <a:moveTo>
                          <a:pt x="0" y="1"/>
                        </a:moveTo>
                        <a:lnTo>
                          <a:pt x="1" y="3"/>
                        </a:lnTo>
                        <a:lnTo>
                          <a:pt x="7" y="4"/>
                        </a:lnTo>
                        <a:lnTo>
                          <a:pt x="7" y="1"/>
                        </a:lnTo>
                        <a:lnTo>
                          <a:pt x="6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2" name="Freeform 50"/>
                  <p:cNvSpPr>
                    <a:spLocks/>
                  </p:cNvSpPr>
                  <p:nvPr/>
                </p:nvSpPr>
                <p:spPr bwMode="auto">
                  <a:xfrm>
                    <a:off x="687" y="2107"/>
                    <a:ext cx="7" cy="7"/>
                  </a:xfrm>
                  <a:custGeom>
                    <a:avLst/>
                    <a:gdLst>
                      <a:gd name="T0" fmla="*/ 0 w 7"/>
                      <a:gd name="T1" fmla="*/ 183946 h 5"/>
                      <a:gd name="T2" fmla="*/ 1 w 7"/>
                      <a:gd name="T3" fmla="*/ 257524 h 5"/>
                      <a:gd name="T4" fmla="*/ 7 w 7"/>
                      <a:gd name="T5" fmla="*/ 483426 h 5"/>
                      <a:gd name="T6" fmla="*/ 7 w 7"/>
                      <a:gd name="T7" fmla="*/ 257524 h 5"/>
                      <a:gd name="T8" fmla="*/ 6 w 7"/>
                      <a:gd name="T9" fmla="*/ 0 h 5"/>
                      <a:gd name="T10" fmla="*/ 0 w 7"/>
                      <a:gd name="T11" fmla="*/ 183946 h 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5"/>
                      <a:gd name="T20" fmla="*/ 7 w 7"/>
                      <a:gd name="T21" fmla="*/ 5 h 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5">
                        <a:moveTo>
                          <a:pt x="0" y="2"/>
                        </a:moveTo>
                        <a:lnTo>
                          <a:pt x="1" y="3"/>
                        </a:lnTo>
                        <a:lnTo>
                          <a:pt x="7" y="5"/>
                        </a:lnTo>
                        <a:lnTo>
                          <a:pt x="7" y="3"/>
                        </a:lnTo>
                        <a:lnTo>
                          <a:pt x="6" y="0"/>
                        </a:lnTo>
                        <a:lnTo>
                          <a:pt x="0" y="2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3" name="Freeform 51"/>
                  <p:cNvSpPr>
                    <a:spLocks/>
                  </p:cNvSpPr>
                  <p:nvPr/>
                </p:nvSpPr>
                <p:spPr bwMode="auto">
                  <a:xfrm>
                    <a:off x="696" y="2112"/>
                    <a:ext cx="7" cy="0"/>
                  </a:xfrm>
                  <a:custGeom>
                    <a:avLst/>
                    <a:gdLst>
                      <a:gd name="T0" fmla="*/ 0 w 8"/>
                      <a:gd name="T1" fmla="*/ 0 h 3"/>
                      <a:gd name="T2" fmla="*/ 1 w 8"/>
                      <a:gd name="T3" fmla="*/ 0 h 3"/>
                      <a:gd name="T4" fmla="*/ 4 w 8"/>
                      <a:gd name="T5" fmla="*/ 0 h 3"/>
                      <a:gd name="T6" fmla="*/ 4 w 8"/>
                      <a:gd name="T7" fmla="*/ 0 h 3"/>
                      <a:gd name="T8" fmla="*/ 4 w 8"/>
                      <a:gd name="T9" fmla="*/ 0 h 3"/>
                      <a:gd name="T10" fmla="*/ 0 w 8"/>
                      <a:gd name="T11" fmla="*/ 0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3"/>
                      <a:gd name="T20" fmla="*/ 8 w 8"/>
                      <a:gd name="T21" fmla="*/ 0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3">
                        <a:moveTo>
                          <a:pt x="0" y="0"/>
                        </a:moveTo>
                        <a:lnTo>
                          <a:pt x="1" y="1"/>
                        </a:lnTo>
                        <a:lnTo>
                          <a:pt x="8" y="3"/>
                        </a:lnTo>
                        <a:lnTo>
                          <a:pt x="8" y="1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4" name="Freeform 52"/>
                  <p:cNvSpPr>
                    <a:spLocks/>
                  </p:cNvSpPr>
                  <p:nvPr/>
                </p:nvSpPr>
                <p:spPr bwMode="auto">
                  <a:xfrm>
                    <a:off x="706" y="2112"/>
                    <a:ext cx="7" cy="5"/>
                  </a:xfrm>
                  <a:custGeom>
                    <a:avLst/>
                    <a:gdLst>
                      <a:gd name="T0" fmla="*/ 0 w 7"/>
                      <a:gd name="T1" fmla="*/ 1 h 4"/>
                      <a:gd name="T2" fmla="*/ 1 w 7"/>
                      <a:gd name="T3" fmla="*/ 4929 h 4"/>
                      <a:gd name="T4" fmla="*/ 7 w 7"/>
                      <a:gd name="T5" fmla="*/ 7701 h 4"/>
                      <a:gd name="T6" fmla="*/ 7 w 7"/>
                      <a:gd name="T7" fmla="*/ 1 h 4"/>
                      <a:gd name="T8" fmla="*/ 5 w 7"/>
                      <a:gd name="T9" fmla="*/ 0 h 4"/>
                      <a:gd name="T10" fmla="*/ 0 w 7"/>
                      <a:gd name="T11" fmla="*/ 1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4"/>
                      <a:gd name="T20" fmla="*/ 7 w 7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4">
                        <a:moveTo>
                          <a:pt x="0" y="1"/>
                        </a:moveTo>
                        <a:lnTo>
                          <a:pt x="1" y="2"/>
                        </a:lnTo>
                        <a:lnTo>
                          <a:pt x="7" y="4"/>
                        </a:lnTo>
                        <a:lnTo>
                          <a:pt x="7" y="1"/>
                        </a:lnTo>
                        <a:lnTo>
                          <a:pt x="5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5" name="Freeform 53"/>
                  <p:cNvSpPr>
                    <a:spLocks/>
                  </p:cNvSpPr>
                  <p:nvPr/>
                </p:nvSpPr>
                <p:spPr bwMode="auto">
                  <a:xfrm>
                    <a:off x="713" y="2114"/>
                    <a:ext cx="10" cy="2"/>
                  </a:xfrm>
                  <a:custGeom>
                    <a:avLst/>
                    <a:gdLst>
                      <a:gd name="T0" fmla="*/ 0 w 8"/>
                      <a:gd name="T1" fmla="*/ 1 h 4"/>
                      <a:gd name="T2" fmla="*/ 1 w 8"/>
                      <a:gd name="T3" fmla="*/ 1 h 4"/>
                      <a:gd name="T4" fmla="*/ 16024 w 8"/>
                      <a:gd name="T5" fmla="*/ 1 h 4"/>
                      <a:gd name="T6" fmla="*/ 16024 w 8"/>
                      <a:gd name="T7" fmla="*/ 1 h 4"/>
                      <a:gd name="T8" fmla="*/ 10838 w 8"/>
                      <a:gd name="T9" fmla="*/ 0 h 4"/>
                      <a:gd name="T10" fmla="*/ 0 w 8"/>
                      <a:gd name="T11" fmla="*/ 1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4"/>
                      <a:gd name="T20" fmla="*/ 8 w 8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4">
                        <a:moveTo>
                          <a:pt x="0" y="1"/>
                        </a:moveTo>
                        <a:lnTo>
                          <a:pt x="1" y="3"/>
                        </a:lnTo>
                        <a:lnTo>
                          <a:pt x="8" y="4"/>
                        </a:lnTo>
                        <a:lnTo>
                          <a:pt x="8" y="3"/>
                        </a:lnTo>
                        <a:lnTo>
                          <a:pt x="6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6" name="Freeform 54"/>
                  <p:cNvSpPr>
                    <a:spLocks/>
                  </p:cNvSpPr>
                  <p:nvPr/>
                </p:nvSpPr>
                <p:spPr bwMode="auto">
                  <a:xfrm>
                    <a:off x="726" y="2114"/>
                    <a:ext cx="7" cy="5"/>
                  </a:xfrm>
                  <a:custGeom>
                    <a:avLst/>
                    <a:gdLst>
                      <a:gd name="T0" fmla="*/ 0 w 7"/>
                      <a:gd name="T1" fmla="*/ 2 h 5"/>
                      <a:gd name="T2" fmla="*/ 1 w 7"/>
                      <a:gd name="T3" fmla="*/ 3 h 5"/>
                      <a:gd name="T4" fmla="*/ 7 w 7"/>
                      <a:gd name="T5" fmla="*/ 5 h 5"/>
                      <a:gd name="T6" fmla="*/ 7 w 7"/>
                      <a:gd name="T7" fmla="*/ 3 h 5"/>
                      <a:gd name="T8" fmla="*/ 5 w 7"/>
                      <a:gd name="T9" fmla="*/ 0 h 5"/>
                      <a:gd name="T10" fmla="*/ 0 w 7"/>
                      <a:gd name="T11" fmla="*/ 2 h 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5"/>
                      <a:gd name="T20" fmla="*/ 7 w 7"/>
                      <a:gd name="T21" fmla="*/ 5 h 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5">
                        <a:moveTo>
                          <a:pt x="0" y="2"/>
                        </a:moveTo>
                        <a:lnTo>
                          <a:pt x="1" y="3"/>
                        </a:lnTo>
                        <a:lnTo>
                          <a:pt x="7" y="5"/>
                        </a:lnTo>
                        <a:lnTo>
                          <a:pt x="7" y="3"/>
                        </a:lnTo>
                        <a:lnTo>
                          <a:pt x="5" y="0"/>
                        </a:lnTo>
                        <a:lnTo>
                          <a:pt x="0" y="2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7" name="Freeform 55"/>
                  <p:cNvSpPr>
                    <a:spLocks/>
                  </p:cNvSpPr>
                  <p:nvPr/>
                </p:nvSpPr>
                <p:spPr bwMode="auto">
                  <a:xfrm>
                    <a:off x="732" y="2116"/>
                    <a:ext cx="9" cy="5"/>
                  </a:xfrm>
                  <a:custGeom>
                    <a:avLst/>
                    <a:gdLst>
                      <a:gd name="T0" fmla="*/ 0 w 8"/>
                      <a:gd name="T1" fmla="*/ 0 h 3"/>
                      <a:gd name="T2" fmla="*/ 1 w 8"/>
                      <a:gd name="T3" fmla="*/ 60525013 h 3"/>
                      <a:gd name="T4" fmla="*/ 407 w 8"/>
                      <a:gd name="T5" fmla="*/ 100875022 h 3"/>
                      <a:gd name="T6" fmla="*/ 407 w 8"/>
                      <a:gd name="T7" fmla="*/ 36315008 h 3"/>
                      <a:gd name="T8" fmla="*/ 361 w 8"/>
                      <a:gd name="T9" fmla="*/ 0 h 3"/>
                      <a:gd name="T10" fmla="*/ 0 w 8"/>
                      <a:gd name="T11" fmla="*/ 0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3"/>
                      <a:gd name="T20" fmla="*/ 8 w 8"/>
                      <a:gd name="T21" fmla="*/ 3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3">
                        <a:moveTo>
                          <a:pt x="0" y="0"/>
                        </a:moveTo>
                        <a:lnTo>
                          <a:pt x="1" y="2"/>
                        </a:lnTo>
                        <a:lnTo>
                          <a:pt x="8" y="3"/>
                        </a:lnTo>
                        <a:lnTo>
                          <a:pt x="8" y="1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8" name="Freeform 56"/>
                  <p:cNvSpPr>
                    <a:spLocks/>
                  </p:cNvSpPr>
                  <p:nvPr/>
                </p:nvSpPr>
                <p:spPr bwMode="auto">
                  <a:xfrm>
                    <a:off x="743" y="2119"/>
                    <a:ext cx="7" cy="2"/>
                  </a:xfrm>
                  <a:custGeom>
                    <a:avLst/>
                    <a:gdLst>
                      <a:gd name="T0" fmla="*/ 0 w 7"/>
                      <a:gd name="T1" fmla="*/ 1 h 3"/>
                      <a:gd name="T2" fmla="*/ 0 w 7"/>
                      <a:gd name="T3" fmla="*/ 1 h 3"/>
                      <a:gd name="T4" fmla="*/ 7 w 7"/>
                      <a:gd name="T5" fmla="*/ 1 h 3"/>
                      <a:gd name="T6" fmla="*/ 7 w 7"/>
                      <a:gd name="T7" fmla="*/ 1 h 3"/>
                      <a:gd name="T8" fmla="*/ 4 w 7"/>
                      <a:gd name="T9" fmla="*/ 0 h 3"/>
                      <a:gd name="T10" fmla="*/ 0 w 7"/>
                      <a:gd name="T11" fmla="*/ 1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3"/>
                      <a:gd name="T20" fmla="*/ 7 w 7"/>
                      <a:gd name="T21" fmla="*/ 3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3">
                        <a:moveTo>
                          <a:pt x="0" y="1"/>
                        </a:moveTo>
                        <a:lnTo>
                          <a:pt x="0" y="2"/>
                        </a:lnTo>
                        <a:lnTo>
                          <a:pt x="7" y="3"/>
                        </a:lnTo>
                        <a:lnTo>
                          <a:pt x="7" y="2"/>
                        </a:lnTo>
                        <a:lnTo>
                          <a:pt x="4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9" name="Freeform 57"/>
                  <p:cNvSpPr>
                    <a:spLocks/>
                  </p:cNvSpPr>
                  <p:nvPr/>
                </p:nvSpPr>
                <p:spPr bwMode="auto">
                  <a:xfrm>
                    <a:off x="752" y="2119"/>
                    <a:ext cx="7" cy="7"/>
                  </a:xfrm>
                  <a:custGeom>
                    <a:avLst/>
                    <a:gdLst>
                      <a:gd name="T0" fmla="*/ 0 w 8"/>
                      <a:gd name="T1" fmla="*/ 1 h 5"/>
                      <a:gd name="T2" fmla="*/ 1 w 8"/>
                      <a:gd name="T3" fmla="*/ 183946 h 5"/>
                      <a:gd name="T4" fmla="*/ 4 w 8"/>
                      <a:gd name="T5" fmla="*/ 483426 h 5"/>
                      <a:gd name="T6" fmla="*/ 4 w 8"/>
                      <a:gd name="T7" fmla="*/ 183946 h 5"/>
                      <a:gd name="T8" fmla="*/ 4 w 8"/>
                      <a:gd name="T9" fmla="*/ 0 h 5"/>
                      <a:gd name="T10" fmla="*/ 0 w 8"/>
                      <a:gd name="T11" fmla="*/ 1 h 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5"/>
                      <a:gd name="T20" fmla="*/ 8 w 8"/>
                      <a:gd name="T21" fmla="*/ 5 h 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5">
                        <a:moveTo>
                          <a:pt x="0" y="1"/>
                        </a:moveTo>
                        <a:lnTo>
                          <a:pt x="1" y="2"/>
                        </a:lnTo>
                        <a:lnTo>
                          <a:pt x="8" y="5"/>
                        </a:lnTo>
                        <a:lnTo>
                          <a:pt x="8" y="2"/>
                        </a:lnTo>
                        <a:lnTo>
                          <a:pt x="6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0" name="Freeform 58"/>
                  <p:cNvSpPr>
                    <a:spLocks/>
                  </p:cNvSpPr>
                  <p:nvPr/>
                </p:nvSpPr>
                <p:spPr bwMode="auto">
                  <a:xfrm>
                    <a:off x="758" y="2121"/>
                    <a:ext cx="9" cy="5"/>
                  </a:xfrm>
                  <a:custGeom>
                    <a:avLst/>
                    <a:gdLst>
                      <a:gd name="T0" fmla="*/ 0 w 8"/>
                      <a:gd name="T1" fmla="*/ 1 h 5"/>
                      <a:gd name="T2" fmla="*/ 1 w 8"/>
                      <a:gd name="T3" fmla="*/ 4 h 5"/>
                      <a:gd name="T4" fmla="*/ 407 w 8"/>
                      <a:gd name="T5" fmla="*/ 5 h 5"/>
                      <a:gd name="T6" fmla="*/ 407 w 8"/>
                      <a:gd name="T7" fmla="*/ 3 h 5"/>
                      <a:gd name="T8" fmla="*/ 361 w 8"/>
                      <a:gd name="T9" fmla="*/ 0 h 5"/>
                      <a:gd name="T10" fmla="*/ 0 w 8"/>
                      <a:gd name="T11" fmla="*/ 1 h 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5"/>
                      <a:gd name="T20" fmla="*/ 8 w 8"/>
                      <a:gd name="T21" fmla="*/ 5 h 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5">
                        <a:moveTo>
                          <a:pt x="0" y="1"/>
                        </a:moveTo>
                        <a:lnTo>
                          <a:pt x="1" y="4"/>
                        </a:lnTo>
                        <a:lnTo>
                          <a:pt x="8" y="5"/>
                        </a:lnTo>
                        <a:lnTo>
                          <a:pt x="8" y="3"/>
                        </a:lnTo>
                        <a:lnTo>
                          <a:pt x="6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</p:grpSp>
            <p:sp>
              <p:nvSpPr>
                <p:cNvPr id="487" name="Freeform 59"/>
                <p:cNvSpPr>
                  <a:spLocks/>
                </p:cNvSpPr>
                <p:nvPr/>
              </p:nvSpPr>
              <p:spPr bwMode="auto">
                <a:xfrm>
                  <a:off x="644" y="1998"/>
                  <a:ext cx="7" cy="105"/>
                </a:xfrm>
                <a:custGeom>
                  <a:avLst/>
                  <a:gdLst>
                    <a:gd name="T0" fmla="*/ 0 w 7"/>
                    <a:gd name="T1" fmla="*/ 0 h 100"/>
                    <a:gd name="T2" fmla="*/ 0 w 7"/>
                    <a:gd name="T3" fmla="*/ 513 h 100"/>
                    <a:gd name="T4" fmla="*/ 7 w 7"/>
                    <a:gd name="T5" fmla="*/ 526 h 100"/>
                    <a:gd name="T6" fmla="*/ 7 w 7"/>
                    <a:gd name="T7" fmla="*/ 0 h 100"/>
                    <a:gd name="T8" fmla="*/ 0 w 7"/>
                    <a:gd name="T9" fmla="*/ 0 h 1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0"/>
                    <a:gd name="T17" fmla="*/ 7 w 7"/>
                    <a:gd name="T18" fmla="*/ 100 h 10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0">
                      <a:moveTo>
                        <a:pt x="0" y="0"/>
                      </a:moveTo>
                      <a:lnTo>
                        <a:pt x="0" y="98"/>
                      </a:lnTo>
                      <a:lnTo>
                        <a:pt x="7" y="100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88" name="Freeform 60"/>
                <p:cNvSpPr>
                  <a:spLocks/>
                </p:cNvSpPr>
                <p:nvPr/>
              </p:nvSpPr>
              <p:spPr bwMode="auto">
                <a:xfrm>
                  <a:off x="653" y="2088"/>
                  <a:ext cx="5" cy="14"/>
                </a:xfrm>
                <a:custGeom>
                  <a:avLst/>
                  <a:gdLst>
                    <a:gd name="T0" fmla="*/ 0 w 6"/>
                    <a:gd name="T1" fmla="*/ 0 h 14"/>
                    <a:gd name="T2" fmla="*/ 0 w 6"/>
                    <a:gd name="T3" fmla="*/ 13 h 14"/>
                    <a:gd name="T4" fmla="*/ 3 w 6"/>
                    <a:gd name="T5" fmla="*/ 14 h 14"/>
                    <a:gd name="T6" fmla="*/ 3 w 6"/>
                    <a:gd name="T7" fmla="*/ 1 h 14"/>
                    <a:gd name="T8" fmla="*/ 0 w 6"/>
                    <a:gd name="T9" fmla="*/ 0 h 1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14"/>
                    <a:gd name="T17" fmla="*/ 6 w 6"/>
                    <a:gd name="T18" fmla="*/ 14 h 1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14">
                      <a:moveTo>
                        <a:pt x="0" y="0"/>
                      </a:moveTo>
                      <a:lnTo>
                        <a:pt x="0" y="13"/>
                      </a:lnTo>
                      <a:lnTo>
                        <a:pt x="6" y="14"/>
                      </a:lnTo>
                      <a:lnTo>
                        <a:pt x="6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89" name="Freeform 61"/>
                <p:cNvSpPr>
                  <a:spLocks/>
                </p:cNvSpPr>
                <p:nvPr/>
              </p:nvSpPr>
              <p:spPr bwMode="auto">
                <a:xfrm>
                  <a:off x="661" y="2000"/>
                  <a:ext cx="7" cy="102"/>
                </a:xfrm>
                <a:custGeom>
                  <a:avLst/>
                  <a:gdLst>
                    <a:gd name="T0" fmla="*/ 0 w 7"/>
                    <a:gd name="T1" fmla="*/ 0 h 102"/>
                    <a:gd name="T2" fmla="*/ 0 w 7"/>
                    <a:gd name="T3" fmla="*/ 101 h 102"/>
                    <a:gd name="T4" fmla="*/ 7 w 7"/>
                    <a:gd name="T5" fmla="*/ 102 h 102"/>
                    <a:gd name="T6" fmla="*/ 7 w 7"/>
                    <a:gd name="T7" fmla="*/ 0 h 102"/>
                    <a:gd name="T8" fmla="*/ 0 w 7"/>
                    <a:gd name="T9" fmla="*/ 0 h 10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2"/>
                    <a:gd name="T17" fmla="*/ 7 w 7"/>
                    <a:gd name="T18" fmla="*/ 102 h 10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2">
                      <a:moveTo>
                        <a:pt x="0" y="0"/>
                      </a:moveTo>
                      <a:lnTo>
                        <a:pt x="0" y="101"/>
                      </a:lnTo>
                      <a:lnTo>
                        <a:pt x="7" y="102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0" name="Freeform 62"/>
                <p:cNvSpPr>
                  <a:spLocks/>
                </p:cNvSpPr>
                <p:nvPr/>
              </p:nvSpPr>
              <p:spPr bwMode="auto">
                <a:xfrm>
                  <a:off x="668" y="2000"/>
                  <a:ext cx="7" cy="107"/>
                </a:xfrm>
                <a:custGeom>
                  <a:avLst/>
                  <a:gdLst>
                    <a:gd name="T0" fmla="*/ 0 w 7"/>
                    <a:gd name="T1" fmla="*/ 0 h 103"/>
                    <a:gd name="T2" fmla="*/ 0 w 7"/>
                    <a:gd name="T3" fmla="*/ 370 h 103"/>
                    <a:gd name="T4" fmla="*/ 7 w 7"/>
                    <a:gd name="T5" fmla="*/ 377 h 103"/>
                    <a:gd name="T6" fmla="*/ 7 w 7"/>
                    <a:gd name="T7" fmla="*/ 0 h 103"/>
                    <a:gd name="T8" fmla="*/ 0 w 7"/>
                    <a:gd name="T9" fmla="*/ 0 h 10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3"/>
                    <a:gd name="T17" fmla="*/ 7 w 7"/>
                    <a:gd name="T18" fmla="*/ 103 h 10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3">
                      <a:moveTo>
                        <a:pt x="0" y="0"/>
                      </a:moveTo>
                      <a:lnTo>
                        <a:pt x="0" y="102"/>
                      </a:lnTo>
                      <a:lnTo>
                        <a:pt x="7" y="103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1" name="Freeform 63"/>
                <p:cNvSpPr>
                  <a:spLocks/>
                </p:cNvSpPr>
                <p:nvPr/>
              </p:nvSpPr>
              <p:spPr bwMode="auto">
                <a:xfrm>
                  <a:off x="679" y="2000"/>
                  <a:ext cx="7" cy="109"/>
                </a:xfrm>
                <a:custGeom>
                  <a:avLst/>
                  <a:gdLst>
                    <a:gd name="T0" fmla="*/ 0 w 6"/>
                    <a:gd name="T1" fmla="*/ 0 h 106"/>
                    <a:gd name="T2" fmla="*/ 0 w 6"/>
                    <a:gd name="T3" fmla="*/ 266 h 106"/>
                    <a:gd name="T4" fmla="*/ 1210 w 6"/>
                    <a:gd name="T5" fmla="*/ 274 h 106"/>
                    <a:gd name="T6" fmla="*/ 1210 w 6"/>
                    <a:gd name="T7" fmla="*/ 0 h 106"/>
                    <a:gd name="T8" fmla="*/ 0 w 6"/>
                    <a:gd name="T9" fmla="*/ 0 h 10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106"/>
                    <a:gd name="T17" fmla="*/ 6 w 6"/>
                    <a:gd name="T18" fmla="*/ 106 h 10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106">
                      <a:moveTo>
                        <a:pt x="0" y="0"/>
                      </a:moveTo>
                      <a:lnTo>
                        <a:pt x="0" y="103"/>
                      </a:lnTo>
                      <a:lnTo>
                        <a:pt x="6" y="106"/>
                      </a:lnTo>
                      <a:lnTo>
                        <a:pt x="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2" name="Freeform 64"/>
                <p:cNvSpPr>
                  <a:spLocks/>
                </p:cNvSpPr>
                <p:nvPr/>
              </p:nvSpPr>
              <p:spPr bwMode="auto">
                <a:xfrm>
                  <a:off x="687" y="2000"/>
                  <a:ext cx="7" cy="112"/>
                </a:xfrm>
                <a:custGeom>
                  <a:avLst/>
                  <a:gdLst>
                    <a:gd name="T0" fmla="*/ 0 w 7"/>
                    <a:gd name="T1" fmla="*/ 0 h 107"/>
                    <a:gd name="T2" fmla="*/ 0 w 7"/>
                    <a:gd name="T3" fmla="*/ 497 h 107"/>
                    <a:gd name="T4" fmla="*/ 7 w 7"/>
                    <a:gd name="T5" fmla="*/ 506 h 107"/>
                    <a:gd name="T6" fmla="*/ 7 w 7"/>
                    <a:gd name="T7" fmla="*/ 2 h 107"/>
                    <a:gd name="T8" fmla="*/ 0 w 7"/>
                    <a:gd name="T9" fmla="*/ 0 h 10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7"/>
                    <a:gd name="T17" fmla="*/ 7 w 7"/>
                    <a:gd name="T18" fmla="*/ 107 h 10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7">
                      <a:moveTo>
                        <a:pt x="0" y="0"/>
                      </a:moveTo>
                      <a:lnTo>
                        <a:pt x="0" y="106"/>
                      </a:lnTo>
                      <a:lnTo>
                        <a:pt x="7" y="107"/>
                      </a:lnTo>
                      <a:lnTo>
                        <a:pt x="7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3" name="Freeform 65"/>
                <p:cNvSpPr>
                  <a:spLocks/>
                </p:cNvSpPr>
                <p:nvPr/>
              </p:nvSpPr>
              <p:spPr bwMode="auto">
                <a:xfrm>
                  <a:off x="696" y="2002"/>
                  <a:ext cx="7" cy="107"/>
                </a:xfrm>
                <a:custGeom>
                  <a:avLst/>
                  <a:gdLst>
                    <a:gd name="T0" fmla="*/ 0 w 6"/>
                    <a:gd name="T1" fmla="*/ 0 h 106"/>
                    <a:gd name="T2" fmla="*/ 0 w 6"/>
                    <a:gd name="T3" fmla="*/ 268 h 106"/>
                    <a:gd name="T4" fmla="*/ 1210 w 6"/>
                    <a:gd name="T5" fmla="*/ 274 h 106"/>
                    <a:gd name="T6" fmla="*/ 1210 w 6"/>
                    <a:gd name="T7" fmla="*/ 0 h 106"/>
                    <a:gd name="T8" fmla="*/ 0 w 6"/>
                    <a:gd name="T9" fmla="*/ 0 h 10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106"/>
                    <a:gd name="T17" fmla="*/ 6 w 6"/>
                    <a:gd name="T18" fmla="*/ 106 h 10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106">
                      <a:moveTo>
                        <a:pt x="0" y="0"/>
                      </a:moveTo>
                      <a:lnTo>
                        <a:pt x="0" y="105"/>
                      </a:lnTo>
                      <a:lnTo>
                        <a:pt x="6" y="106"/>
                      </a:lnTo>
                      <a:lnTo>
                        <a:pt x="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4" name="Freeform 66"/>
                <p:cNvSpPr>
                  <a:spLocks/>
                </p:cNvSpPr>
                <p:nvPr/>
              </p:nvSpPr>
              <p:spPr bwMode="auto">
                <a:xfrm>
                  <a:off x="705" y="2002"/>
                  <a:ext cx="7" cy="107"/>
                </a:xfrm>
                <a:custGeom>
                  <a:avLst/>
                  <a:gdLst>
                    <a:gd name="T0" fmla="*/ 0 w 7"/>
                    <a:gd name="T1" fmla="*/ 0 h 107"/>
                    <a:gd name="T2" fmla="*/ 0 w 7"/>
                    <a:gd name="T3" fmla="*/ 196 h 107"/>
                    <a:gd name="T4" fmla="*/ 7 w 7"/>
                    <a:gd name="T5" fmla="*/ 197 h 107"/>
                    <a:gd name="T6" fmla="*/ 7 w 7"/>
                    <a:gd name="T7" fmla="*/ 0 h 107"/>
                    <a:gd name="T8" fmla="*/ 0 w 7"/>
                    <a:gd name="T9" fmla="*/ 0 h 10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7"/>
                    <a:gd name="T17" fmla="*/ 7 w 7"/>
                    <a:gd name="T18" fmla="*/ 107 h 10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7">
                      <a:moveTo>
                        <a:pt x="0" y="0"/>
                      </a:moveTo>
                      <a:lnTo>
                        <a:pt x="0" y="106"/>
                      </a:lnTo>
                      <a:lnTo>
                        <a:pt x="7" y="107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5" name="Freeform 67"/>
                <p:cNvSpPr>
                  <a:spLocks/>
                </p:cNvSpPr>
                <p:nvPr/>
              </p:nvSpPr>
              <p:spPr bwMode="auto">
                <a:xfrm>
                  <a:off x="713" y="2002"/>
                  <a:ext cx="7" cy="114"/>
                </a:xfrm>
                <a:custGeom>
                  <a:avLst/>
                  <a:gdLst>
                    <a:gd name="T0" fmla="*/ 0 w 7"/>
                    <a:gd name="T1" fmla="*/ 0 h 110"/>
                    <a:gd name="T2" fmla="*/ 0 w 7"/>
                    <a:gd name="T3" fmla="*/ 363 h 110"/>
                    <a:gd name="T4" fmla="*/ 7 w 7"/>
                    <a:gd name="T5" fmla="*/ 368 h 110"/>
                    <a:gd name="T6" fmla="*/ 7 w 7"/>
                    <a:gd name="T7" fmla="*/ 0 h 110"/>
                    <a:gd name="T8" fmla="*/ 0 w 7"/>
                    <a:gd name="T9" fmla="*/ 0 h 1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10"/>
                    <a:gd name="T17" fmla="*/ 7 w 7"/>
                    <a:gd name="T18" fmla="*/ 110 h 11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10">
                      <a:moveTo>
                        <a:pt x="0" y="0"/>
                      </a:moveTo>
                      <a:lnTo>
                        <a:pt x="0" y="108"/>
                      </a:lnTo>
                      <a:lnTo>
                        <a:pt x="7" y="110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6" name="Freeform 68"/>
                <p:cNvSpPr>
                  <a:spLocks/>
                </p:cNvSpPr>
                <p:nvPr/>
              </p:nvSpPr>
              <p:spPr bwMode="auto">
                <a:xfrm>
                  <a:off x="722" y="2002"/>
                  <a:ext cx="7" cy="114"/>
                </a:xfrm>
                <a:custGeom>
                  <a:avLst/>
                  <a:gdLst>
                    <a:gd name="T0" fmla="*/ 0 w 6"/>
                    <a:gd name="T1" fmla="*/ 0 h 111"/>
                    <a:gd name="T2" fmla="*/ 0 w 6"/>
                    <a:gd name="T3" fmla="*/ 271 h 111"/>
                    <a:gd name="T4" fmla="*/ 1210 w 6"/>
                    <a:gd name="T5" fmla="*/ 272 h 111"/>
                    <a:gd name="T6" fmla="*/ 1210 w 6"/>
                    <a:gd name="T7" fmla="*/ 0 h 111"/>
                    <a:gd name="T8" fmla="*/ 0 w 6"/>
                    <a:gd name="T9" fmla="*/ 0 h 1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111"/>
                    <a:gd name="T17" fmla="*/ 6 w 6"/>
                    <a:gd name="T18" fmla="*/ 111 h 11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111">
                      <a:moveTo>
                        <a:pt x="0" y="0"/>
                      </a:moveTo>
                      <a:lnTo>
                        <a:pt x="0" y="110"/>
                      </a:lnTo>
                      <a:lnTo>
                        <a:pt x="6" y="111"/>
                      </a:lnTo>
                      <a:lnTo>
                        <a:pt x="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7" name="Freeform 69"/>
                <p:cNvSpPr>
                  <a:spLocks/>
                </p:cNvSpPr>
                <p:nvPr/>
              </p:nvSpPr>
              <p:spPr bwMode="auto">
                <a:xfrm>
                  <a:off x="732" y="2002"/>
                  <a:ext cx="7" cy="114"/>
                </a:xfrm>
                <a:custGeom>
                  <a:avLst/>
                  <a:gdLst>
                    <a:gd name="T0" fmla="*/ 0 w 7"/>
                    <a:gd name="T1" fmla="*/ 0 h 111"/>
                    <a:gd name="T2" fmla="*/ 0 w 7"/>
                    <a:gd name="T3" fmla="*/ 488 h 111"/>
                    <a:gd name="T4" fmla="*/ 7 w 7"/>
                    <a:gd name="T5" fmla="*/ 491 h 111"/>
                    <a:gd name="T6" fmla="*/ 7 w 7"/>
                    <a:gd name="T7" fmla="*/ 0 h 111"/>
                    <a:gd name="T8" fmla="*/ 0 w 7"/>
                    <a:gd name="T9" fmla="*/ 0 h 1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11"/>
                    <a:gd name="T17" fmla="*/ 7 w 7"/>
                    <a:gd name="T18" fmla="*/ 111 h 11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11">
                      <a:moveTo>
                        <a:pt x="0" y="0"/>
                      </a:moveTo>
                      <a:lnTo>
                        <a:pt x="0" y="110"/>
                      </a:lnTo>
                      <a:lnTo>
                        <a:pt x="7" y="111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8" name="Rectangle 70"/>
                <p:cNvSpPr>
                  <a:spLocks noChangeArrowheads="1"/>
                </p:cNvSpPr>
                <p:nvPr/>
              </p:nvSpPr>
              <p:spPr bwMode="auto">
                <a:xfrm>
                  <a:off x="741" y="2002"/>
                  <a:ext cx="5" cy="114"/>
                </a:xfrm>
                <a:prstGeom prst="rect">
                  <a:avLst/>
                </a:pr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lnSpc>
                      <a:spcPct val="100000"/>
                    </a:lnSpc>
                    <a:spcBef>
                      <a:spcPct val="0"/>
                    </a:spcBef>
                    <a:defRPr/>
                  </a:pPr>
                  <a:endParaRPr lang="en-GB" sz="4000">
                    <a:latin typeface="+mn-lt"/>
                    <a:ea typeface="ＭＳ Ｐゴシック" pitchFamily="34" charset="-128"/>
                    <a:cs typeface="Arial" pitchFamily="34" charset="0"/>
                  </a:endParaRPr>
                </a:p>
              </p:txBody>
            </p:sp>
            <p:sp>
              <p:nvSpPr>
                <p:cNvPr id="499" name="Freeform 71"/>
                <p:cNvSpPr>
                  <a:spLocks/>
                </p:cNvSpPr>
                <p:nvPr/>
              </p:nvSpPr>
              <p:spPr bwMode="auto">
                <a:xfrm>
                  <a:off x="748" y="2002"/>
                  <a:ext cx="10" cy="114"/>
                </a:xfrm>
                <a:custGeom>
                  <a:avLst/>
                  <a:gdLst>
                    <a:gd name="T0" fmla="*/ 0 w 7"/>
                    <a:gd name="T1" fmla="*/ 0 h 114"/>
                    <a:gd name="T2" fmla="*/ 0 w 7"/>
                    <a:gd name="T3" fmla="*/ 200 h 114"/>
                    <a:gd name="T4" fmla="*/ 1277047 w 7"/>
                    <a:gd name="T5" fmla="*/ 201 h 114"/>
                    <a:gd name="T6" fmla="*/ 1277047 w 7"/>
                    <a:gd name="T7" fmla="*/ 0 h 114"/>
                    <a:gd name="T8" fmla="*/ 0 w 7"/>
                    <a:gd name="T9" fmla="*/ 0 h 11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14"/>
                    <a:gd name="T17" fmla="*/ 7 w 7"/>
                    <a:gd name="T18" fmla="*/ 114 h 11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14">
                      <a:moveTo>
                        <a:pt x="0" y="0"/>
                      </a:moveTo>
                      <a:lnTo>
                        <a:pt x="0" y="113"/>
                      </a:lnTo>
                      <a:lnTo>
                        <a:pt x="7" y="114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00" name="Freeform 72"/>
                <p:cNvSpPr>
                  <a:spLocks/>
                </p:cNvSpPr>
                <p:nvPr/>
              </p:nvSpPr>
              <p:spPr bwMode="auto">
                <a:xfrm>
                  <a:off x="758" y="2002"/>
                  <a:ext cx="7" cy="121"/>
                </a:xfrm>
                <a:custGeom>
                  <a:avLst/>
                  <a:gdLst>
                    <a:gd name="T0" fmla="*/ 0 w 7"/>
                    <a:gd name="T1" fmla="*/ 0 h 116"/>
                    <a:gd name="T2" fmla="*/ 0 w 7"/>
                    <a:gd name="T3" fmla="*/ 484 h 116"/>
                    <a:gd name="T4" fmla="*/ 7 w 7"/>
                    <a:gd name="T5" fmla="*/ 486 h 116"/>
                    <a:gd name="T6" fmla="*/ 7 w 7"/>
                    <a:gd name="T7" fmla="*/ 0 h 116"/>
                    <a:gd name="T8" fmla="*/ 0 w 7"/>
                    <a:gd name="T9" fmla="*/ 0 h 1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16"/>
                    <a:gd name="T17" fmla="*/ 7 w 7"/>
                    <a:gd name="T18" fmla="*/ 116 h 1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16">
                      <a:moveTo>
                        <a:pt x="0" y="0"/>
                      </a:moveTo>
                      <a:lnTo>
                        <a:pt x="0" y="114"/>
                      </a:lnTo>
                      <a:lnTo>
                        <a:pt x="7" y="116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01" name="Rectangle 73"/>
                <p:cNvSpPr>
                  <a:spLocks noChangeArrowheads="1"/>
                </p:cNvSpPr>
                <p:nvPr/>
              </p:nvSpPr>
              <p:spPr bwMode="auto">
                <a:xfrm>
                  <a:off x="653" y="2000"/>
                  <a:ext cx="5" cy="77"/>
                </a:xfrm>
                <a:prstGeom prst="rect">
                  <a:avLst/>
                </a:pr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lnSpc>
                      <a:spcPct val="100000"/>
                    </a:lnSpc>
                    <a:spcBef>
                      <a:spcPct val="0"/>
                    </a:spcBef>
                    <a:defRPr/>
                  </a:pPr>
                  <a:endParaRPr lang="en-GB" sz="4000">
                    <a:latin typeface="+mn-lt"/>
                    <a:ea typeface="ＭＳ Ｐゴシック" pitchFamily="34" charset="-128"/>
                    <a:cs typeface="Arial" pitchFamily="34" charset="0"/>
                  </a:endParaRPr>
                </a:p>
              </p:txBody>
            </p:sp>
            <p:sp>
              <p:nvSpPr>
                <p:cNvPr id="502" name="Freeform 74"/>
                <p:cNvSpPr>
                  <a:spLocks/>
                </p:cNvSpPr>
                <p:nvPr/>
              </p:nvSpPr>
              <p:spPr bwMode="auto">
                <a:xfrm>
                  <a:off x="653" y="2086"/>
                  <a:ext cx="7" cy="2"/>
                </a:xfrm>
                <a:custGeom>
                  <a:avLst/>
                  <a:gdLst>
                    <a:gd name="T0" fmla="*/ 0 w 7"/>
                    <a:gd name="T1" fmla="*/ 2 h 2"/>
                    <a:gd name="T2" fmla="*/ 6 w 7"/>
                    <a:gd name="T3" fmla="*/ 2 h 2"/>
                    <a:gd name="T4" fmla="*/ 7 w 7"/>
                    <a:gd name="T5" fmla="*/ 1 h 2"/>
                    <a:gd name="T6" fmla="*/ 0 w 7"/>
                    <a:gd name="T7" fmla="*/ 0 h 2"/>
                    <a:gd name="T8" fmla="*/ 0 w 7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2"/>
                    <a:gd name="T17" fmla="*/ 7 w 7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2">
                      <a:moveTo>
                        <a:pt x="0" y="2"/>
                      </a:moveTo>
                      <a:lnTo>
                        <a:pt x="6" y="2"/>
                      </a:lnTo>
                      <a:lnTo>
                        <a:pt x="7" y="1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03" name="Freeform 75"/>
                <p:cNvSpPr>
                  <a:spLocks/>
                </p:cNvSpPr>
                <p:nvPr/>
              </p:nvSpPr>
              <p:spPr bwMode="auto">
                <a:xfrm>
                  <a:off x="653" y="2074"/>
                  <a:ext cx="7" cy="2"/>
                </a:xfrm>
                <a:custGeom>
                  <a:avLst/>
                  <a:gdLst>
                    <a:gd name="T0" fmla="*/ 6 w 7"/>
                    <a:gd name="T1" fmla="*/ 0 h 2"/>
                    <a:gd name="T2" fmla="*/ 0 w 7"/>
                    <a:gd name="T3" fmla="*/ 0 h 2"/>
                    <a:gd name="T4" fmla="*/ 1 w 7"/>
                    <a:gd name="T5" fmla="*/ 1 h 2"/>
                    <a:gd name="T6" fmla="*/ 7 w 7"/>
                    <a:gd name="T7" fmla="*/ 2 h 2"/>
                    <a:gd name="T8" fmla="*/ 6 w 7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2"/>
                    <a:gd name="T17" fmla="*/ 7 w 7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2">
                      <a:moveTo>
                        <a:pt x="6" y="0"/>
                      </a:move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7" y="2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04" name="Freeform 76"/>
                <p:cNvSpPr>
                  <a:spLocks/>
                </p:cNvSpPr>
                <p:nvPr/>
              </p:nvSpPr>
              <p:spPr bwMode="auto">
                <a:xfrm>
                  <a:off x="653" y="2086"/>
                  <a:ext cx="5" cy="0"/>
                </a:xfrm>
                <a:custGeom>
                  <a:avLst/>
                  <a:gdLst>
                    <a:gd name="T0" fmla="*/ 0 w 5"/>
                    <a:gd name="T1" fmla="*/ 0 h 3"/>
                    <a:gd name="T2" fmla="*/ 0 w 5"/>
                    <a:gd name="T3" fmla="*/ 0 h 3"/>
                    <a:gd name="T4" fmla="*/ 5 w 5"/>
                    <a:gd name="T5" fmla="*/ 0 h 3"/>
                    <a:gd name="T6" fmla="*/ 5 w 5"/>
                    <a:gd name="T7" fmla="*/ 0 h 3"/>
                    <a:gd name="T8" fmla="*/ 0 w 5"/>
                    <a:gd name="T9" fmla="*/ 0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"/>
                    <a:gd name="T16" fmla="*/ 0 h 3"/>
                    <a:gd name="T17" fmla="*/ 5 w 5"/>
                    <a:gd name="T18" fmla="*/ 0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" h="3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0202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05" name="Freeform 77"/>
                <p:cNvSpPr>
                  <a:spLocks/>
                </p:cNvSpPr>
                <p:nvPr/>
              </p:nvSpPr>
              <p:spPr bwMode="auto">
                <a:xfrm>
                  <a:off x="765" y="1998"/>
                  <a:ext cx="3" cy="133"/>
                </a:xfrm>
                <a:custGeom>
                  <a:avLst/>
                  <a:gdLst>
                    <a:gd name="T0" fmla="*/ 0 w 1"/>
                    <a:gd name="T1" fmla="*/ 611 h 127"/>
                    <a:gd name="T2" fmla="*/ 0 w 1"/>
                    <a:gd name="T3" fmla="*/ 593 h 127"/>
                    <a:gd name="T4" fmla="*/ 0 w 1"/>
                    <a:gd name="T5" fmla="*/ 0 h 127"/>
                    <a:gd name="T6" fmla="*/ 0 w 1"/>
                    <a:gd name="T7" fmla="*/ 0 h 127"/>
                    <a:gd name="T8" fmla="*/ 0 w 1"/>
                    <a:gd name="T9" fmla="*/ 611 h 1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"/>
                    <a:gd name="T16" fmla="*/ 0 h 127"/>
                    <a:gd name="T17" fmla="*/ 1 w 1"/>
                    <a:gd name="T18" fmla="*/ 127 h 12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" h="127">
                      <a:moveTo>
                        <a:pt x="0" y="127"/>
                      </a:moveTo>
                      <a:lnTo>
                        <a:pt x="0" y="124"/>
                      </a:lnTo>
                      <a:lnTo>
                        <a:pt x="0" y="0"/>
                      </a:lnTo>
                      <a:lnTo>
                        <a:pt x="0" y="127"/>
                      </a:lnTo>
                      <a:close/>
                    </a:path>
                  </a:pathLst>
                </a:custGeom>
                <a:solidFill>
                  <a:srgbClr val="A0A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06" name="Freeform 78"/>
                <p:cNvSpPr>
                  <a:spLocks/>
                </p:cNvSpPr>
                <p:nvPr/>
              </p:nvSpPr>
              <p:spPr bwMode="auto">
                <a:xfrm>
                  <a:off x="641" y="1995"/>
                  <a:ext cx="3" cy="107"/>
                </a:xfrm>
                <a:custGeom>
                  <a:avLst/>
                  <a:gdLst>
                    <a:gd name="T0" fmla="*/ 0 w 1"/>
                    <a:gd name="T1" fmla="*/ 0 h 107"/>
                    <a:gd name="T2" fmla="*/ 0 w 1"/>
                    <a:gd name="T3" fmla="*/ 197 h 107"/>
                    <a:gd name="T4" fmla="*/ 0 w 1"/>
                    <a:gd name="T5" fmla="*/ 196 h 107"/>
                    <a:gd name="T6" fmla="*/ 0 w 1"/>
                    <a:gd name="T7" fmla="*/ 1 h 107"/>
                    <a:gd name="T8" fmla="*/ 0 w 1"/>
                    <a:gd name="T9" fmla="*/ 0 h 10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"/>
                    <a:gd name="T16" fmla="*/ 0 h 107"/>
                    <a:gd name="T17" fmla="*/ 1 w 1"/>
                    <a:gd name="T18" fmla="*/ 107 h 10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" h="107">
                      <a:moveTo>
                        <a:pt x="0" y="0"/>
                      </a:moveTo>
                      <a:lnTo>
                        <a:pt x="0" y="107"/>
                      </a:lnTo>
                      <a:lnTo>
                        <a:pt x="0" y="106"/>
                      </a:lnTo>
                      <a:lnTo>
                        <a:pt x="0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382" name="Freeform 79"/>
            <p:cNvSpPr>
              <a:spLocks/>
            </p:cNvSpPr>
            <p:nvPr/>
          </p:nvSpPr>
          <p:spPr bwMode="auto">
            <a:xfrm>
              <a:off x="637" y="2109"/>
              <a:ext cx="135" cy="186"/>
            </a:xfrm>
            <a:custGeom>
              <a:avLst/>
              <a:gdLst>
                <a:gd name="T0" fmla="*/ 0 w 135"/>
                <a:gd name="T1" fmla="*/ 0 h 186"/>
                <a:gd name="T2" fmla="*/ 135 w 135"/>
                <a:gd name="T3" fmla="*/ 25 h 186"/>
                <a:gd name="T4" fmla="*/ 135 w 135"/>
                <a:gd name="T5" fmla="*/ 186 h 186"/>
                <a:gd name="T6" fmla="*/ 0 w 135"/>
                <a:gd name="T7" fmla="*/ 136 h 186"/>
                <a:gd name="T8" fmla="*/ 0 w 135"/>
                <a:gd name="T9" fmla="*/ 0 h 18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5"/>
                <a:gd name="T16" fmla="*/ 0 h 186"/>
                <a:gd name="T17" fmla="*/ 135 w 135"/>
                <a:gd name="T18" fmla="*/ 186 h 18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5" h="186">
                  <a:moveTo>
                    <a:pt x="0" y="0"/>
                  </a:moveTo>
                  <a:lnTo>
                    <a:pt x="135" y="25"/>
                  </a:lnTo>
                  <a:lnTo>
                    <a:pt x="135" y="186"/>
                  </a:lnTo>
                  <a:lnTo>
                    <a:pt x="0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grpSp>
          <p:nvGrpSpPr>
            <p:cNvPr id="383" name="Group 80"/>
            <p:cNvGrpSpPr>
              <a:grpSpLocks/>
            </p:cNvGrpSpPr>
            <p:nvPr/>
          </p:nvGrpSpPr>
          <p:grpSpPr bwMode="auto">
            <a:xfrm>
              <a:off x="641" y="2116"/>
              <a:ext cx="125" cy="149"/>
              <a:chOff x="641" y="2116"/>
              <a:chExt cx="125" cy="149"/>
            </a:xfrm>
          </p:grpSpPr>
          <p:sp>
            <p:nvSpPr>
              <p:cNvPr id="401" name="Freeform 81"/>
              <p:cNvSpPr>
                <a:spLocks/>
              </p:cNvSpPr>
              <p:nvPr/>
            </p:nvSpPr>
            <p:spPr bwMode="auto">
              <a:xfrm>
                <a:off x="641" y="2116"/>
                <a:ext cx="121" cy="147"/>
              </a:xfrm>
              <a:custGeom>
                <a:avLst/>
                <a:gdLst>
                  <a:gd name="T0" fmla="*/ 0 w 122"/>
                  <a:gd name="T1" fmla="*/ 0 h 145"/>
                  <a:gd name="T2" fmla="*/ 0 w 122"/>
                  <a:gd name="T3" fmla="*/ 149 h 145"/>
                  <a:gd name="T4" fmla="*/ 88 w 122"/>
                  <a:gd name="T5" fmla="*/ 228 h 145"/>
                  <a:gd name="T6" fmla="*/ 88 w 122"/>
                  <a:gd name="T7" fmla="*/ 21 h 145"/>
                  <a:gd name="T8" fmla="*/ 0 w 122"/>
                  <a:gd name="T9" fmla="*/ 0 h 1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2"/>
                  <a:gd name="T16" fmla="*/ 0 h 145"/>
                  <a:gd name="T17" fmla="*/ 122 w 122"/>
                  <a:gd name="T18" fmla="*/ 145 h 1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2" h="145">
                    <a:moveTo>
                      <a:pt x="0" y="0"/>
                    </a:moveTo>
                    <a:lnTo>
                      <a:pt x="0" y="95"/>
                    </a:lnTo>
                    <a:lnTo>
                      <a:pt x="122" y="145"/>
                    </a:lnTo>
                    <a:lnTo>
                      <a:pt x="122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2" name="Freeform 82"/>
              <p:cNvSpPr>
                <a:spLocks/>
              </p:cNvSpPr>
              <p:nvPr/>
            </p:nvSpPr>
            <p:spPr bwMode="auto">
              <a:xfrm>
                <a:off x="641" y="2137"/>
                <a:ext cx="121" cy="128"/>
              </a:xfrm>
              <a:custGeom>
                <a:avLst/>
                <a:gdLst>
                  <a:gd name="T0" fmla="*/ 0 w 122"/>
                  <a:gd name="T1" fmla="*/ 0 h 127"/>
                  <a:gd name="T2" fmla="*/ 0 w 122"/>
                  <a:gd name="T3" fmla="*/ 121 h 127"/>
                  <a:gd name="T4" fmla="*/ 88 w 122"/>
                  <a:gd name="T5" fmla="*/ 161 h 127"/>
                  <a:gd name="T6" fmla="*/ 88 w 122"/>
                  <a:gd name="T7" fmla="*/ 158 h 127"/>
                  <a:gd name="T8" fmla="*/ 88 w 122"/>
                  <a:gd name="T9" fmla="*/ 4 h 127"/>
                  <a:gd name="T10" fmla="*/ 0 w 122"/>
                  <a:gd name="T11" fmla="*/ 0 h 1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22"/>
                  <a:gd name="T19" fmla="*/ 0 h 127"/>
                  <a:gd name="T20" fmla="*/ 122 w 122"/>
                  <a:gd name="T21" fmla="*/ 127 h 12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22" h="127">
                    <a:moveTo>
                      <a:pt x="0" y="0"/>
                    </a:moveTo>
                    <a:lnTo>
                      <a:pt x="0" y="87"/>
                    </a:lnTo>
                    <a:lnTo>
                      <a:pt x="122" y="127"/>
                    </a:lnTo>
                    <a:lnTo>
                      <a:pt x="122" y="124"/>
                    </a:lnTo>
                    <a:lnTo>
                      <a:pt x="122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3" name="Freeform 83"/>
              <p:cNvSpPr>
                <a:spLocks/>
              </p:cNvSpPr>
              <p:nvPr/>
            </p:nvSpPr>
            <p:spPr bwMode="auto">
              <a:xfrm>
                <a:off x="641" y="2116"/>
                <a:ext cx="121" cy="147"/>
              </a:xfrm>
              <a:custGeom>
                <a:avLst/>
                <a:gdLst>
                  <a:gd name="T0" fmla="*/ 0 w 122"/>
                  <a:gd name="T1" fmla="*/ 0 h 145"/>
                  <a:gd name="T2" fmla="*/ 0 w 122"/>
                  <a:gd name="T3" fmla="*/ 173 h 145"/>
                  <a:gd name="T4" fmla="*/ 88 w 122"/>
                  <a:gd name="T5" fmla="*/ 228 h 145"/>
                  <a:gd name="T6" fmla="*/ 88 w 122"/>
                  <a:gd name="T7" fmla="*/ 23 h 145"/>
                  <a:gd name="T8" fmla="*/ 0 w 122"/>
                  <a:gd name="T9" fmla="*/ 0 h 1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2"/>
                  <a:gd name="T16" fmla="*/ 0 h 145"/>
                  <a:gd name="T17" fmla="*/ 122 w 122"/>
                  <a:gd name="T18" fmla="*/ 145 h 1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2" h="145">
                    <a:moveTo>
                      <a:pt x="0" y="0"/>
                    </a:moveTo>
                    <a:lnTo>
                      <a:pt x="0" y="107"/>
                    </a:lnTo>
                    <a:lnTo>
                      <a:pt x="122" y="145"/>
                    </a:lnTo>
                    <a:lnTo>
                      <a:pt x="122" y="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060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4" name="Freeform 84"/>
              <p:cNvSpPr>
                <a:spLocks/>
              </p:cNvSpPr>
              <p:nvPr/>
            </p:nvSpPr>
            <p:spPr bwMode="auto">
              <a:xfrm>
                <a:off x="679" y="2231"/>
                <a:ext cx="7" cy="7"/>
              </a:xfrm>
              <a:custGeom>
                <a:avLst/>
                <a:gdLst>
                  <a:gd name="T0" fmla="*/ 0 w 7"/>
                  <a:gd name="T1" fmla="*/ 36315008 h 3"/>
                  <a:gd name="T2" fmla="*/ 1 w 7"/>
                  <a:gd name="T3" fmla="*/ 60525013 h 3"/>
                  <a:gd name="T4" fmla="*/ 7 w 7"/>
                  <a:gd name="T5" fmla="*/ 100875022 h 3"/>
                  <a:gd name="T6" fmla="*/ 7 w 7"/>
                  <a:gd name="T7" fmla="*/ 36315008 h 3"/>
                  <a:gd name="T8" fmla="*/ 6 w 7"/>
                  <a:gd name="T9" fmla="*/ 0 h 3"/>
                  <a:gd name="T10" fmla="*/ 0 w 7"/>
                  <a:gd name="T11" fmla="*/ 36315008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3"/>
                  <a:gd name="T20" fmla="*/ 7 w 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3">
                    <a:moveTo>
                      <a:pt x="0" y="1"/>
                    </a:moveTo>
                    <a:lnTo>
                      <a:pt x="1" y="2"/>
                    </a:lnTo>
                    <a:lnTo>
                      <a:pt x="7" y="3"/>
                    </a:lnTo>
                    <a:lnTo>
                      <a:pt x="7" y="1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5" name="Freeform 85"/>
              <p:cNvSpPr>
                <a:spLocks/>
              </p:cNvSpPr>
              <p:nvPr/>
            </p:nvSpPr>
            <p:spPr bwMode="auto">
              <a:xfrm>
                <a:off x="644" y="2119"/>
                <a:ext cx="7" cy="102"/>
              </a:xfrm>
              <a:custGeom>
                <a:avLst/>
                <a:gdLst>
                  <a:gd name="T0" fmla="*/ 0 w 7"/>
                  <a:gd name="T1" fmla="*/ 0 h 101"/>
                  <a:gd name="T2" fmla="*/ 0 w 7"/>
                  <a:gd name="T3" fmla="*/ 134 h 101"/>
                  <a:gd name="T4" fmla="*/ 7 w 7"/>
                  <a:gd name="T5" fmla="*/ 135 h 101"/>
                  <a:gd name="T6" fmla="*/ 7 w 7"/>
                  <a:gd name="T7" fmla="*/ 1 h 101"/>
                  <a:gd name="T8" fmla="*/ 0 w 7"/>
                  <a:gd name="T9" fmla="*/ 0 h 10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1"/>
                  <a:gd name="T17" fmla="*/ 7 w 7"/>
                  <a:gd name="T18" fmla="*/ 101 h 10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1">
                    <a:moveTo>
                      <a:pt x="0" y="0"/>
                    </a:moveTo>
                    <a:lnTo>
                      <a:pt x="0" y="100"/>
                    </a:lnTo>
                    <a:lnTo>
                      <a:pt x="7" y="101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6" name="Freeform 86"/>
              <p:cNvSpPr>
                <a:spLocks/>
              </p:cNvSpPr>
              <p:nvPr/>
            </p:nvSpPr>
            <p:spPr bwMode="auto">
              <a:xfrm>
                <a:off x="644" y="2119"/>
                <a:ext cx="7" cy="2"/>
              </a:xfrm>
              <a:custGeom>
                <a:avLst/>
                <a:gdLst>
                  <a:gd name="T0" fmla="*/ 0 w 8"/>
                  <a:gd name="T1" fmla="*/ 1 h 2"/>
                  <a:gd name="T2" fmla="*/ 4 w 8"/>
                  <a:gd name="T3" fmla="*/ 2 h 2"/>
                  <a:gd name="T4" fmla="*/ 4 w 8"/>
                  <a:gd name="T5" fmla="*/ 1 h 2"/>
                  <a:gd name="T6" fmla="*/ 1 w 8"/>
                  <a:gd name="T7" fmla="*/ 0 h 2"/>
                  <a:gd name="T8" fmla="*/ 0 w 8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2"/>
                  <a:gd name="T17" fmla="*/ 8 w 8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2">
                    <a:moveTo>
                      <a:pt x="0" y="1"/>
                    </a:moveTo>
                    <a:lnTo>
                      <a:pt x="7" y="2"/>
                    </a:lnTo>
                    <a:lnTo>
                      <a:pt x="8" y="1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7" name="Freeform 87"/>
              <p:cNvSpPr>
                <a:spLocks/>
              </p:cNvSpPr>
              <p:nvPr/>
            </p:nvSpPr>
            <p:spPr bwMode="auto">
              <a:xfrm>
                <a:off x="644" y="2219"/>
                <a:ext cx="7" cy="5"/>
              </a:xfrm>
              <a:custGeom>
                <a:avLst/>
                <a:gdLst>
                  <a:gd name="T0" fmla="*/ 0 w 8"/>
                  <a:gd name="T1" fmla="*/ 0 h 4"/>
                  <a:gd name="T2" fmla="*/ 1 w 8"/>
                  <a:gd name="T3" fmla="*/ 1 h 4"/>
                  <a:gd name="T4" fmla="*/ 4 w 8"/>
                  <a:gd name="T5" fmla="*/ 7701 h 4"/>
                  <a:gd name="T6" fmla="*/ 4 w 8"/>
                  <a:gd name="T7" fmla="*/ 1 h 4"/>
                  <a:gd name="T8" fmla="*/ 4 w 8"/>
                  <a:gd name="T9" fmla="*/ 0 h 4"/>
                  <a:gd name="T10" fmla="*/ 0 w 8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4"/>
                  <a:gd name="T20" fmla="*/ 8 w 8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4">
                    <a:moveTo>
                      <a:pt x="0" y="0"/>
                    </a:moveTo>
                    <a:lnTo>
                      <a:pt x="1" y="1"/>
                    </a:lnTo>
                    <a:lnTo>
                      <a:pt x="8" y="4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8" name="Freeform 88"/>
              <p:cNvSpPr>
                <a:spLocks/>
              </p:cNvSpPr>
              <p:nvPr/>
            </p:nvSpPr>
            <p:spPr bwMode="auto">
              <a:xfrm>
                <a:off x="644" y="2121"/>
                <a:ext cx="7" cy="100"/>
              </a:xfrm>
              <a:custGeom>
                <a:avLst/>
                <a:gdLst>
                  <a:gd name="T0" fmla="*/ 0 w 7"/>
                  <a:gd name="T1" fmla="*/ 0 h 100"/>
                  <a:gd name="T2" fmla="*/ 0 w 7"/>
                  <a:gd name="T3" fmla="*/ 98 h 100"/>
                  <a:gd name="T4" fmla="*/ 7 w 7"/>
                  <a:gd name="T5" fmla="*/ 100 h 100"/>
                  <a:gd name="T6" fmla="*/ 7 w 7"/>
                  <a:gd name="T7" fmla="*/ 1 h 100"/>
                  <a:gd name="T8" fmla="*/ 0 w 7"/>
                  <a:gd name="T9" fmla="*/ 0 h 1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0"/>
                  <a:gd name="T17" fmla="*/ 7 w 7"/>
                  <a:gd name="T18" fmla="*/ 100 h 10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0">
                    <a:moveTo>
                      <a:pt x="0" y="0"/>
                    </a:moveTo>
                    <a:lnTo>
                      <a:pt x="0" y="98"/>
                    </a:lnTo>
                    <a:lnTo>
                      <a:pt x="7" y="100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9" name="Freeform 89"/>
              <p:cNvSpPr>
                <a:spLocks/>
              </p:cNvSpPr>
              <p:nvPr/>
            </p:nvSpPr>
            <p:spPr bwMode="auto">
              <a:xfrm>
                <a:off x="660" y="2123"/>
                <a:ext cx="7" cy="105"/>
              </a:xfrm>
              <a:custGeom>
                <a:avLst/>
                <a:gdLst>
                  <a:gd name="T0" fmla="*/ 0 w 7"/>
                  <a:gd name="T1" fmla="*/ 0 h 104"/>
                  <a:gd name="T2" fmla="*/ 0 w 7"/>
                  <a:gd name="T3" fmla="*/ 137 h 104"/>
                  <a:gd name="T4" fmla="*/ 7 w 7"/>
                  <a:gd name="T5" fmla="*/ 138 h 104"/>
                  <a:gd name="T6" fmla="*/ 7 w 7"/>
                  <a:gd name="T7" fmla="*/ 0 h 104"/>
                  <a:gd name="T8" fmla="*/ 0 w 7"/>
                  <a:gd name="T9" fmla="*/ 0 h 10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4"/>
                  <a:gd name="T17" fmla="*/ 7 w 7"/>
                  <a:gd name="T18" fmla="*/ 104 h 10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4">
                    <a:moveTo>
                      <a:pt x="0" y="0"/>
                    </a:moveTo>
                    <a:lnTo>
                      <a:pt x="0" y="103"/>
                    </a:lnTo>
                    <a:lnTo>
                      <a:pt x="7" y="104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0" name="Freeform 90"/>
              <p:cNvSpPr>
                <a:spLocks/>
              </p:cNvSpPr>
              <p:nvPr/>
            </p:nvSpPr>
            <p:spPr bwMode="auto">
              <a:xfrm>
                <a:off x="660" y="2123"/>
                <a:ext cx="9" cy="0"/>
              </a:xfrm>
              <a:custGeom>
                <a:avLst/>
                <a:gdLst>
                  <a:gd name="T0" fmla="*/ 0 w 8"/>
                  <a:gd name="T1" fmla="*/ 0 h 3"/>
                  <a:gd name="T2" fmla="*/ 362 w 8"/>
                  <a:gd name="T3" fmla="*/ 0 h 3"/>
                  <a:gd name="T4" fmla="*/ 407 w 8"/>
                  <a:gd name="T5" fmla="*/ 0 h 3"/>
                  <a:gd name="T6" fmla="*/ 1 w 8"/>
                  <a:gd name="T7" fmla="*/ 0 h 3"/>
                  <a:gd name="T8" fmla="*/ 0 w 8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3"/>
                  <a:gd name="T17" fmla="*/ 8 w 8"/>
                  <a:gd name="T18" fmla="*/ 0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3">
                    <a:moveTo>
                      <a:pt x="0" y="1"/>
                    </a:moveTo>
                    <a:lnTo>
                      <a:pt x="7" y="3"/>
                    </a:lnTo>
                    <a:lnTo>
                      <a:pt x="8" y="0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1" name="Freeform 91"/>
              <p:cNvSpPr>
                <a:spLocks/>
              </p:cNvSpPr>
              <p:nvPr/>
            </p:nvSpPr>
            <p:spPr bwMode="auto">
              <a:xfrm>
                <a:off x="660" y="2226"/>
                <a:ext cx="9" cy="2"/>
              </a:xfrm>
              <a:custGeom>
                <a:avLst/>
                <a:gdLst>
                  <a:gd name="T0" fmla="*/ 0 w 8"/>
                  <a:gd name="T1" fmla="*/ 1 h 3"/>
                  <a:gd name="T2" fmla="*/ 1 w 8"/>
                  <a:gd name="T3" fmla="*/ 1 h 3"/>
                  <a:gd name="T4" fmla="*/ 407 w 8"/>
                  <a:gd name="T5" fmla="*/ 1 h 3"/>
                  <a:gd name="T6" fmla="*/ 407 w 8"/>
                  <a:gd name="T7" fmla="*/ 1 h 3"/>
                  <a:gd name="T8" fmla="*/ 361 w 8"/>
                  <a:gd name="T9" fmla="*/ 0 h 3"/>
                  <a:gd name="T10" fmla="*/ 0 w 8"/>
                  <a:gd name="T11" fmla="*/ 1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3"/>
                  <a:gd name="T20" fmla="*/ 8 w 8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3">
                    <a:moveTo>
                      <a:pt x="0" y="1"/>
                    </a:moveTo>
                    <a:lnTo>
                      <a:pt x="1" y="2"/>
                    </a:lnTo>
                    <a:lnTo>
                      <a:pt x="8" y="3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2" name="Freeform 92"/>
              <p:cNvSpPr>
                <a:spLocks/>
              </p:cNvSpPr>
              <p:nvPr/>
            </p:nvSpPr>
            <p:spPr bwMode="auto">
              <a:xfrm>
                <a:off x="660" y="2123"/>
                <a:ext cx="7" cy="105"/>
              </a:xfrm>
              <a:custGeom>
                <a:avLst/>
                <a:gdLst>
                  <a:gd name="T0" fmla="*/ 0 w 7"/>
                  <a:gd name="T1" fmla="*/ 0 h 103"/>
                  <a:gd name="T2" fmla="*/ 0 w 7"/>
                  <a:gd name="T3" fmla="*/ 193 h 103"/>
                  <a:gd name="T4" fmla="*/ 7 w 7"/>
                  <a:gd name="T5" fmla="*/ 195 h 103"/>
                  <a:gd name="T6" fmla="*/ 7 w 7"/>
                  <a:gd name="T7" fmla="*/ 2 h 103"/>
                  <a:gd name="T8" fmla="*/ 0 w 7"/>
                  <a:gd name="T9" fmla="*/ 0 h 10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3"/>
                  <a:gd name="T17" fmla="*/ 7 w 7"/>
                  <a:gd name="T18" fmla="*/ 103 h 10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3">
                    <a:moveTo>
                      <a:pt x="0" y="0"/>
                    </a:moveTo>
                    <a:lnTo>
                      <a:pt x="0" y="102"/>
                    </a:lnTo>
                    <a:lnTo>
                      <a:pt x="7" y="103"/>
                    </a:lnTo>
                    <a:lnTo>
                      <a:pt x="7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3" name="Freeform 93"/>
              <p:cNvSpPr>
                <a:spLocks/>
              </p:cNvSpPr>
              <p:nvPr/>
            </p:nvSpPr>
            <p:spPr bwMode="auto">
              <a:xfrm>
                <a:off x="670" y="2126"/>
                <a:ext cx="7" cy="105"/>
              </a:xfrm>
              <a:custGeom>
                <a:avLst/>
                <a:gdLst>
                  <a:gd name="T0" fmla="*/ 0 w 7"/>
                  <a:gd name="T1" fmla="*/ 0 h 105"/>
                  <a:gd name="T2" fmla="*/ 0 w 7"/>
                  <a:gd name="T3" fmla="*/ 104 h 105"/>
                  <a:gd name="T4" fmla="*/ 7 w 7"/>
                  <a:gd name="T5" fmla="*/ 105 h 105"/>
                  <a:gd name="T6" fmla="*/ 7 w 7"/>
                  <a:gd name="T7" fmla="*/ 0 h 105"/>
                  <a:gd name="T8" fmla="*/ 0 w 7"/>
                  <a:gd name="T9" fmla="*/ 0 h 10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5"/>
                  <a:gd name="T17" fmla="*/ 7 w 7"/>
                  <a:gd name="T18" fmla="*/ 105 h 10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5">
                    <a:moveTo>
                      <a:pt x="0" y="0"/>
                    </a:moveTo>
                    <a:lnTo>
                      <a:pt x="0" y="104"/>
                    </a:lnTo>
                    <a:lnTo>
                      <a:pt x="7" y="105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4" name="Freeform 94"/>
              <p:cNvSpPr>
                <a:spLocks/>
              </p:cNvSpPr>
              <p:nvPr/>
            </p:nvSpPr>
            <p:spPr bwMode="auto">
              <a:xfrm>
                <a:off x="667" y="2123"/>
                <a:ext cx="10" cy="0"/>
              </a:xfrm>
              <a:custGeom>
                <a:avLst/>
                <a:gdLst>
                  <a:gd name="T0" fmla="*/ 0 w 9"/>
                  <a:gd name="T1" fmla="*/ 0 h 3"/>
                  <a:gd name="T2" fmla="*/ 249 w 9"/>
                  <a:gd name="T3" fmla="*/ 0 h 3"/>
                  <a:gd name="T4" fmla="*/ 308 w 9"/>
                  <a:gd name="T5" fmla="*/ 0 h 3"/>
                  <a:gd name="T6" fmla="*/ 2 w 9"/>
                  <a:gd name="T7" fmla="*/ 0 h 3"/>
                  <a:gd name="T8" fmla="*/ 0 w 9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3"/>
                  <a:gd name="T17" fmla="*/ 9 w 9"/>
                  <a:gd name="T18" fmla="*/ 0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3">
                    <a:moveTo>
                      <a:pt x="0" y="2"/>
                    </a:moveTo>
                    <a:lnTo>
                      <a:pt x="7" y="3"/>
                    </a:lnTo>
                    <a:lnTo>
                      <a:pt x="9" y="2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5" name="Freeform 95"/>
              <p:cNvSpPr>
                <a:spLocks/>
              </p:cNvSpPr>
              <p:nvPr/>
            </p:nvSpPr>
            <p:spPr bwMode="auto">
              <a:xfrm>
                <a:off x="667" y="2228"/>
                <a:ext cx="10" cy="5"/>
              </a:xfrm>
              <a:custGeom>
                <a:avLst/>
                <a:gdLst>
                  <a:gd name="T0" fmla="*/ 0 w 9"/>
                  <a:gd name="T1" fmla="*/ 0 h 4"/>
                  <a:gd name="T2" fmla="*/ 2 w 9"/>
                  <a:gd name="T3" fmla="*/ 4929 h 4"/>
                  <a:gd name="T4" fmla="*/ 308 w 9"/>
                  <a:gd name="T5" fmla="*/ 7701 h 4"/>
                  <a:gd name="T6" fmla="*/ 308 w 9"/>
                  <a:gd name="T7" fmla="*/ 4929 h 4"/>
                  <a:gd name="T8" fmla="*/ 224 w 9"/>
                  <a:gd name="T9" fmla="*/ 0 h 4"/>
                  <a:gd name="T10" fmla="*/ 0 w 9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"/>
                  <a:gd name="T19" fmla="*/ 0 h 4"/>
                  <a:gd name="T20" fmla="*/ 9 w 9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" h="4">
                    <a:moveTo>
                      <a:pt x="0" y="0"/>
                    </a:moveTo>
                    <a:lnTo>
                      <a:pt x="2" y="2"/>
                    </a:lnTo>
                    <a:lnTo>
                      <a:pt x="9" y="4"/>
                    </a:lnTo>
                    <a:lnTo>
                      <a:pt x="9" y="2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6" name="Freeform 96"/>
              <p:cNvSpPr>
                <a:spLocks/>
              </p:cNvSpPr>
              <p:nvPr/>
            </p:nvSpPr>
            <p:spPr bwMode="auto">
              <a:xfrm>
                <a:off x="667" y="2126"/>
                <a:ext cx="7" cy="105"/>
              </a:xfrm>
              <a:custGeom>
                <a:avLst/>
                <a:gdLst>
                  <a:gd name="T0" fmla="*/ 0 w 7"/>
                  <a:gd name="T1" fmla="*/ 0 h 105"/>
                  <a:gd name="T2" fmla="*/ 0 w 7"/>
                  <a:gd name="T3" fmla="*/ 102 h 105"/>
                  <a:gd name="T4" fmla="*/ 7 w 7"/>
                  <a:gd name="T5" fmla="*/ 105 h 105"/>
                  <a:gd name="T6" fmla="*/ 7 w 7"/>
                  <a:gd name="T7" fmla="*/ 1 h 105"/>
                  <a:gd name="T8" fmla="*/ 0 w 7"/>
                  <a:gd name="T9" fmla="*/ 0 h 10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5"/>
                  <a:gd name="T17" fmla="*/ 7 w 7"/>
                  <a:gd name="T18" fmla="*/ 105 h 10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5">
                    <a:moveTo>
                      <a:pt x="0" y="0"/>
                    </a:moveTo>
                    <a:lnTo>
                      <a:pt x="0" y="102"/>
                    </a:lnTo>
                    <a:lnTo>
                      <a:pt x="7" y="105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7" name="Freeform 97"/>
              <p:cNvSpPr>
                <a:spLocks/>
              </p:cNvSpPr>
              <p:nvPr/>
            </p:nvSpPr>
            <p:spPr bwMode="auto">
              <a:xfrm>
                <a:off x="679" y="2126"/>
                <a:ext cx="7" cy="109"/>
              </a:xfrm>
              <a:custGeom>
                <a:avLst/>
                <a:gdLst>
                  <a:gd name="T0" fmla="*/ 0 w 6"/>
                  <a:gd name="T1" fmla="*/ 0 h 107"/>
                  <a:gd name="T2" fmla="*/ 0 w 6"/>
                  <a:gd name="T3" fmla="*/ 193 h 107"/>
                  <a:gd name="T4" fmla="*/ 1210 w 6"/>
                  <a:gd name="T5" fmla="*/ 197 h 107"/>
                  <a:gd name="T6" fmla="*/ 1210 w 6"/>
                  <a:gd name="T7" fmla="*/ 0 h 107"/>
                  <a:gd name="T8" fmla="*/ 0 w 6"/>
                  <a:gd name="T9" fmla="*/ 0 h 10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07"/>
                  <a:gd name="T17" fmla="*/ 6 w 6"/>
                  <a:gd name="T18" fmla="*/ 107 h 10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07">
                    <a:moveTo>
                      <a:pt x="0" y="0"/>
                    </a:moveTo>
                    <a:lnTo>
                      <a:pt x="0" y="105"/>
                    </a:lnTo>
                    <a:lnTo>
                      <a:pt x="6" y="107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8" name="Freeform 98"/>
              <p:cNvSpPr>
                <a:spLocks/>
              </p:cNvSpPr>
              <p:nvPr/>
            </p:nvSpPr>
            <p:spPr bwMode="auto">
              <a:xfrm>
                <a:off x="679" y="2126"/>
                <a:ext cx="7" cy="2"/>
              </a:xfrm>
              <a:custGeom>
                <a:avLst/>
                <a:gdLst>
                  <a:gd name="T0" fmla="*/ 0 w 7"/>
                  <a:gd name="T1" fmla="*/ 2 h 2"/>
                  <a:gd name="T2" fmla="*/ 6 w 7"/>
                  <a:gd name="T3" fmla="*/ 2 h 2"/>
                  <a:gd name="T4" fmla="*/ 7 w 7"/>
                  <a:gd name="T5" fmla="*/ 1 h 2"/>
                  <a:gd name="T6" fmla="*/ 0 w 7"/>
                  <a:gd name="T7" fmla="*/ 0 h 2"/>
                  <a:gd name="T8" fmla="*/ 0 w 7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2"/>
                    </a:moveTo>
                    <a:lnTo>
                      <a:pt x="6" y="2"/>
                    </a:lnTo>
                    <a:lnTo>
                      <a:pt x="7" y="1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9" name="Freeform 99"/>
              <p:cNvSpPr>
                <a:spLocks/>
              </p:cNvSpPr>
              <p:nvPr/>
            </p:nvSpPr>
            <p:spPr bwMode="auto">
              <a:xfrm>
                <a:off x="679" y="2128"/>
                <a:ext cx="5" cy="105"/>
              </a:xfrm>
              <a:custGeom>
                <a:avLst/>
                <a:gdLst>
                  <a:gd name="T0" fmla="*/ 0 w 6"/>
                  <a:gd name="T1" fmla="*/ 0 h 105"/>
                  <a:gd name="T2" fmla="*/ 0 w 6"/>
                  <a:gd name="T3" fmla="*/ 103 h 105"/>
                  <a:gd name="T4" fmla="*/ 3 w 6"/>
                  <a:gd name="T5" fmla="*/ 105 h 105"/>
                  <a:gd name="T6" fmla="*/ 3 w 6"/>
                  <a:gd name="T7" fmla="*/ 0 h 105"/>
                  <a:gd name="T8" fmla="*/ 0 w 6"/>
                  <a:gd name="T9" fmla="*/ 0 h 10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05"/>
                  <a:gd name="T17" fmla="*/ 6 w 6"/>
                  <a:gd name="T18" fmla="*/ 105 h 10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05">
                    <a:moveTo>
                      <a:pt x="0" y="0"/>
                    </a:moveTo>
                    <a:lnTo>
                      <a:pt x="0" y="103"/>
                    </a:lnTo>
                    <a:lnTo>
                      <a:pt x="6" y="105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0" name="Freeform 100"/>
              <p:cNvSpPr>
                <a:spLocks/>
              </p:cNvSpPr>
              <p:nvPr/>
            </p:nvSpPr>
            <p:spPr bwMode="auto">
              <a:xfrm>
                <a:off x="686" y="2128"/>
                <a:ext cx="7" cy="109"/>
              </a:xfrm>
              <a:custGeom>
                <a:avLst/>
                <a:gdLst>
                  <a:gd name="T0" fmla="*/ 0 w 7"/>
                  <a:gd name="T1" fmla="*/ 0 h 108"/>
                  <a:gd name="T2" fmla="*/ 0 w 7"/>
                  <a:gd name="T3" fmla="*/ 140 h 108"/>
                  <a:gd name="T4" fmla="*/ 6 w 7"/>
                  <a:gd name="T5" fmla="*/ 142 h 108"/>
                  <a:gd name="T6" fmla="*/ 7 w 7"/>
                  <a:gd name="T7" fmla="*/ 0 h 108"/>
                  <a:gd name="T8" fmla="*/ 0 w 7"/>
                  <a:gd name="T9" fmla="*/ 0 h 10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8"/>
                  <a:gd name="T17" fmla="*/ 7 w 7"/>
                  <a:gd name="T18" fmla="*/ 108 h 10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8">
                    <a:moveTo>
                      <a:pt x="0" y="0"/>
                    </a:moveTo>
                    <a:lnTo>
                      <a:pt x="0" y="106"/>
                    </a:lnTo>
                    <a:lnTo>
                      <a:pt x="6" y="108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1" name="Freeform 101"/>
              <p:cNvSpPr>
                <a:spLocks/>
              </p:cNvSpPr>
              <p:nvPr/>
            </p:nvSpPr>
            <p:spPr bwMode="auto">
              <a:xfrm>
                <a:off x="686" y="2128"/>
                <a:ext cx="7" cy="2"/>
              </a:xfrm>
              <a:custGeom>
                <a:avLst/>
                <a:gdLst>
                  <a:gd name="T0" fmla="*/ 0 w 7"/>
                  <a:gd name="T1" fmla="*/ 1 h 2"/>
                  <a:gd name="T2" fmla="*/ 7 w 7"/>
                  <a:gd name="T3" fmla="*/ 2 h 2"/>
                  <a:gd name="T4" fmla="*/ 7 w 7"/>
                  <a:gd name="T5" fmla="*/ 0 h 2"/>
                  <a:gd name="T6" fmla="*/ 1 w 7"/>
                  <a:gd name="T7" fmla="*/ 0 h 2"/>
                  <a:gd name="T8" fmla="*/ 0 w 7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1"/>
                    </a:moveTo>
                    <a:lnTo>
                      <a:pt x="7" y="2"/>
                    </a:lnTo>
                    <a:lnTo>
                      <a:pt x="7" y="0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2" name="Freeform 102"/>
              <p:cNvSpPr>
                <a:spLocks/>
              </p:cNvSpPr>
              <p:nvPr/>
            </p:nvSpPr>
            <p:spPr bwMode="auto">
              <a:xfrm>
                <a:off x="686" y="2235"/>
                <a:ext cx="7" cy="2"/>
              </a:xfrm>
              <a:custGeom>
                <a:avLst/>
                <a:gdLst>
                  <a:gd name="T0" fmla="*/ 0 w 7"/>
                  <a:gd name="T1" fmla="*/ 0 h 4"/>
                  <a:gd name="T2" fmla="*/ 1 w 7"/>
                  <a:gd name="T3" fmla="*/ 1 h 4"/>
                  <a:gd name="T4" fmla="*/ 7 w 7"/>
                  <a:gd name="T5" fmla="*/ 1 h 4"/>
                  <a:gd name="T6" fmla="*/ 7 w 7"/>
                  <a:gd name="T7" fmla="*/ 1 h 4"/>
                  <a:gd name="T8" fmla="*/ 6 w 7"/>
                  <a:gd name="T9" fmla="*/ 0 h 4"/>
                  <a:gd name="T10" fmla="*/ 0 w 7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4"/>
                  <a:gd name="T20" fmla="*/ 7 w 7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4">
                    <a:moveTo>
                      <a:pt x="0" y="0"/>
                    </a:moveTo>
                    <a:lnTo>
                      <a:pt x="1" y="1"/>
                    </a:lnTo>
                    <a:lnTo>
                      <a:pt x="7" y="4"/>
                    </a:lnTo>
                    <a:lnTo>
                      <a:pt x="7" y="1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3" name="Freeform 103"/>
              <p:cNvSpPr>
                <a:spLocks/>
              </p:cNvSpPr>
              <p:nvPr/>
            </p:nvSpPr>
            <p:spPr bwMode="auto">
              <a:xfrm>
                <a:off x="686" y="2128"/>
                <a:ext cx="7" cy="107"/>
              </a:xfrm>
              <a:custGeom>
                <a:avLst/>
                <a:gdLst>
                  <a:gd name="T0" fmla="*/ 0 w 7"/>
                  <a:gd name="T1" fmla="*/ 0 h 106"/>
                  <a:gd name="T2" fmla="*/ 0 w 7"/>
                  <a:gd name="T3" fmla="*/ 139 h 106"/>
                  <a:gd name="T4" fmla="*/ 7 w 7"/>
                  <a:gd name="T5" fmla="*/ 140 h 106"/>
                  <a:gd name="T6" fmla="*/ 7 w 7"/>
                  <a:gd name="T7" fmla="*/ 1 h 106"/>
                  <a:gd name="T8" fmla="*/ 0 w 7"/>
                  <a:gd name="T9" fmla="*/ 0 h 10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6"/>
                  <a:gd name="T17" fmla="*/ 7 w 7"/>
                  <a:gd name="T18" fmla="*/ 106 h 10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6">
                    <a:moveTo>
                      <a:pt x="0" y="0"/>
                    </a:moveTo>
                    <a:lnTo>
                      <a:pt x="0" y="105"/>
                    </a:lnTo>
                    <a:lnTo>
                      <a:pt x="7" y="106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4" name="Freeform 104"/>
              <p:cNvSpPr>
                <a:spLocks/>
              </p:cNvSpPr>
              <p:nvPr/>
            </p:nvSpPr>
            <p:spPr bwMode="auto">
              <a:xfrm>
                <a:off x="696" y="2130"/>
                <a:ext cx="7" cy="109"/>
              </a:xfrm>
              <a:custGeom>
                <a:avLst/>
                <a:gdLst>
                  <a:gd name="T0" fmla="*/ 0 w 7"/>
                  <a:gd name="T1" fmla="*/ 0 h 109"/>
                  <a:gd name="T2" fmla="*/ 0 w 7"/>
                  <a:gd name="T3" fmla="*/ 108 h 109"/>
                  <a:gd name="T4" fmla="*/ 7 w 7"/>
                  <a:gd name="T5" fmla="*/ 109 h 109"/>
                  <a:gd name="T6" fmla="*/ 7 w 7"/>
                  <a:gd name="T7" fmla="*/ 0 h 109"/>
                  <a:gd name="T8" fmla="*/ 0 w 7"/>
                  <a:gd name="T9" fmla="*/ 0 h 10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9"/>
                  <a:gd name="T17" fmla="*/ 7 w 7"/>
                  <a:gd name="T18" fmla="*/ 109 h 10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9">
                    <a:moveTo>
                      <a:pt x="0" y="0"/>
                    </a:moveTo>
                    <a:lnTo>
                      <a:pt x="0" y="108"/>
                    </a:lnTo>
                    <a:lnTo>
                      <a:pt x="7" y="109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5" name="Freeform 105"/>
              <p:cNvSpPr>
                <a:spLocks/>
              </p:cNvSpPr>
              <p:nvPr/>
            </p:nvSpPr>
            <p:spPr bwMode="auto">
              <a:xfrm>
                <a:off x="696" y="2128"/>
                <a:ext cx="7" cy="2"/>
              </a:xfrm>
              <a:custGeom>
                <a:avLst/>
                <a:gdLst>
                  <a:gd name="T0" fmla="*/ 0 w 7"/>
                  <a:gd name="T1" fmla="*/ 1 h 2"/>
                  <a:gd name="T2" fmla="*/ 6 w 7"/>
                  <a:gd name="T3" fmla="*/ 2 h 2"/>
                  <a:gd name="T4" fmla="*/ 7 w 7"/>
                  <a:gd name="T5" fmla="*/ 1 h 2"/>
                  <a:gd name="T6" fmla="*/ 0 w 7"/>
                  <a:gd name="T7" fmla="*/ 0 h 2"/>
                  <a:gd name="T8" fmla="*/ 0 w 7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1"/>
                    </a:moveTo>
                    <a:lnTo>
                      <a:pt x="6" y="2"/>
                    </a:lnTo>
                    <a:lnTo>
                      <a:pt x="7" y="1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6" name="Freeform 106"/>
              <p:cNvSpPr>
                <a:spLocks/>
              </p:cNvSpPr>
              <p:nvPr/>
            </p:nvSpPr>
            <p:spPr bwMode="auto">
              <a:xfrm>
                <a:off x="693" y="2238"/>
                <a:ext cx="10" cy="2"/>
              </a:xfrm>
              <a:custGeom>
                <a:avLst/>
                <a:gdLst>
                  <a:gd name="T0" fmla="*/ 0 w 8"/>
                  <a:gd name="T1" fmla="*/ 0 h 3"/>
                  <a:gd name="T2" fmla="*/ 1 w 8"/>
                  <a:gd name="T3" fmla="*/ 1 h 3"/>
                  <a:gd name="T4" fmla="*/ 16024 w 8"/>
                  <a:gd name="T5" fmla="*/ 1 h 3"/>
                  <a:gd name="T6" fmla="*/ 16024 w 8"/>
                  <a:gd name="T7" fmla="*/ 1 h 3"/>
                  <a:gd name="T8" fmla="*/ 10838 w 8"/>
                  <a:gd name="T9" fmla="*/ 0 h 3"/>
                  <a:gd name="T10" fmla="*/ 0 w 8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3"/>
                  <a:gd name="T20" fmla="*/ 8 w 8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3">
                    <a:moveTo>
                      <a:pt x="0" y="0"/>
                    </a:moveTo>
                    <a:lnTo>
                      <a:pt x="1" y="1"/>
                    </a:lnTo>
                    <a:lnTo>
                      <a:pt x="8" y="3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7" name="Freeform 107"/>
              <p:cNvSpPr>
                <a:spLocks/>
              </p:cNvSpPr>
              <p:nvPr/>
            </p:nvSpPr>
            <p:spPr bwMode="auto">
              <a:xfrm>
                <a:off x="696" y="2130"/>
                <a:ext cx="2" cy="109"/>
              </a:xfrm>
              <a:custGeom>
                <a:avLst/>
                <a:gdLst>
                  <a:gd name="T0" fmla="*/ 0 w 6"/>
                  <a:gd name="T1" fmla="*/ 0 h 109"/>
                  <a:gd name="T2" fmla="*/ 0 w 6"/>
                  <a:gd name="T3" fmla="*/ 107 h 109"/>
                  <a:gd name="T4" fmla="*/ 1 w 6"/>
                  <a:gd name="T5" fmla="*/ 109 h 109"/>
                  <a:gd name="T6" fmla="*/ 1 w 6"/>
                  <a:gd name="T7" fmla="*/ 1 h 109"/>
                  <a:gd name="T8" fmla="*/ 0 w 6"/>
                  <a:gd name="T9" fmla="*/ 0 h 10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09"/>
                  <a:gd name="T17" fmla="*/ 6 w 6"/>
                  <a:gd name="T18" fmla="*/ 109 h 10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09">
                    <a:moveTo>
                      <a:pt x="0" y="0"/>
                    </a:moveTo>
                    <a:lnTo>
                      <a:pt x="0" y="107"/>
                    </a:lnTo>
                    <a:lnTo>
                      <a:pt x="6" y="109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8" name="Freeform 108"/>
              <p:cNvSpPr>
                <a:spLocks/>
              </p:cNvSpPr>
              <p:nvPr/>
            </p:nvSpPr>
            <p:spPr bwMode="auto">
              <a:xfrm>
                <a:off x="705" y="2130"/>
                <a:ext cx="7" cy="112"/>
              </a:xfrm>
              <a:custGeom>
                <a:avLst/>
                <a:gdLst>
                  <a:gd name="T0" fmla="*/ 0 w 6"/>
                  <a:gd name="T1" fmla="*/ 0 h 112"/>
                  <a:gd name="T2" fmla="*/ 0 w 6"/>
                  <a:gd name="T3" fmla="*/ 110 h 112"/>
                  <a:gd name="T4" fmla="*/ 1210 w 6"/>
                  <a:gd name="T5" fmla="*/ 112 h 112"/>
                  <a:gd name="T6" fmla="*/ 1210 w 6"/>
                  <a:gd name="T7" fmla="*/ 0 h 112"/>
                  <a:gd name="T8" fmla="*/ 0 w 6"/>
                  <a:gd name="T9" fmla="*/ 0 h 1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12"/>
                  <a:gd name="T17" fmla="*/ 6 w 6"/>
                  <a:gd name="T18" fmla="*/ 112 h 1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12">
                    <a:moveTo>
                      <a:pt x="0" y="0"/>
                    </a:moveTo>
                    <a:lnTo>
                      <a:pt x="0" y="110"/>
                    </a:lnTo>
                    <a:lnTo>
                      <a:pt x="6" y="112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9" name="Freeform 109"/>
              <p:cNvSpPr>
                <a:spLocks/>
              </p:cNvSpPr>
              <p:nvPr/>
            </p:nvSpPr>
            <p:spPr bwMode="auto">
              <a:xfrm>
                <a:off x="705" y="2130"/>
                <a:ext cx="7" cy="0"/>
              </a:xfrm>
              <a:custGeom>
                <a:avLst/>
                <a:gdLst>
                  <a:gd name="T0" fmla="*/ 0 w 7"/>
                  <a:gd name="T1" fmla="*/ 0 h 2"/>
                  <a:gd name="T2" fmla="*/ 7 w 7"/>
                  <a:gd name="T3" fmla="*/ 0 h 2"/>
                  <a:gd name="T4" fmla="*/ 7 w 7"/>
                  <a:gd name="T5" fmla="*/ 0 h 2"/>
                  <a:gd name="T6" fmla="*/ 1 w 7"/>
                  <a:gd name="T7" fmla="*/ 0 h 2"/>
                  <a:gd name="T8" fmla="*/ 0 w 7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0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0"/>
                    </a:moveTo>
                    <a:lnTo>
                      <a:pt x="7" y="2"/>
                    </a:lnTo>
                    <a:lnTo>
                      <a:pt x="7" y="0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0" name="Freeform 110"/>
              <p:cNvSpPr>
                <a:spLocks/>
              </p:cNvSpPr>
              <p:nvPr/>
            </p:nvSpPr>
            <p:spPr bwMode="auto">
              <a:xfrm>
                <a:off x="705" y="2240"/>
                <a:ext cx="7" cy="2"/>
              </a:xfrm>
              <a:custGeom>
                <a:avLst/>
                <a:gdLst>
                  <a:gd name="T0" fmla="*/ 0 w 7"/>
                  <a:gd name="T1" fmla="*/ 1 h 4"/>
                  <a:gd name="T2" fmla="*/ 1 w 7"/>
                  <a:gd name="T3" fmla="*/ 1 h 4"/>
                  <a:gd name="T4" fmla="*/ 7 w 7"/>
                  <a:gd name="T5" fmla="*/ 1 h 4"/>
                  <a:gd name="T6" fmla="*/ 7 w 7"/>
                  <a:gd name="T7" fmla="*/ 1 h 4"/>
                  <a:gd name="T8" fmla="*/ 5 w 7"/>
                  <a:gd name="T9" fmla="*/ 0 h 4"/>
                  <a:gd name="T10" fmla="*/ 0 w 7"/>
                  <a:gd name="T11" fmla="*/ 1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4"/>
                  <a:gd name="T20" fmla="*/ 7 w 7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4">
                    <a:moveTo>
                      <a:pt x="0" y="1"/>
                    </a:moveTo>
                    <a:lnTo>
                      <a:pt x="1" y="2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5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1" name="Freeform 111"/>
              <p:cNvSpPr>
                <a:spLocks/>
              </p:cNvSpPr>
              <p:nvPr/>
            </p:nvSpPr>
            <p:spPr bwMode="auto">
              <a:xfrm>
                <a:off x="705" y="2130"/>
                <a:ext cx="7" cy="112"/>
              </a:xfrm>
              <a:custGeom>
                <a:avLst/>
                <a:gdLst>
                  <a:gd name="T0" fmla="*/ 0 w 7"/>
                  <a:gd name="T1" fmla="*/ 0 h 110"/>
                  <a:gd name="T2" fmla="*/ 0 w 7"/>
                  <a:gd name="T3" fmla="*/ 195 h 110"/>
                  <a:gd name="T4" fmla="*/ 7 w 7"/>
                  <a:gd name="T5" fmla="*/ 199 h 110"/>
                  <a:gd name="T6" fmla="*/ 7 w 7"/>
                  <a:gd name="T7" fmla="*/ 2 h 110"/>
                  <a:gd name="T8" fmla="*/ 0 w 7"/>
                  <a:gd name="T9" fmla="*/ 0 h 1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0"/>
                  <a:gd name="T17" fmla="*/ 7 w 7"/>
                  <a:gd name="T18" fmla="*/ 110 h 1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0">
                    <a:moveTo>
                      <a:pt x="0" y="0"/>
                    </a:moveTo>
                    <a:lnTo>
                      <a:pt x="0" y="108"/>
                    </a:lnTo>
                    <a:lnTo>
                      <a:pt x="7" y="110"/>
                    </a:lnTo>
                    <a:lnTo>
                      <a:pt x="7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2" name="Freeform 112"/>
              <p:cNvSpPr>
                <a:spLocks/>
              </p:cNvSpPr>
              <p:nvPr/>
            </p:nvSpPr>
            <p:spPr bwMode="auto">
              <a:xfrm>
                <a:off x="712" y="2133"/>
                <a:ext cx="7" cy="112"/>
              </a:xfrm>
              <a:custGeom>
                <a:avLst/>
                <a:gdLst>
                  <a:gd name="T0" fmla="*/ 0 w 7"/>
                  <a:gd name="T1" fmla="*/ 0 h 112"/>
                  <a:gd name="T2" fmla="*/ 0 w 7"/>
                  <a:gd name="T3" fmla="*/ 111 h 112"/>
                  <a:gd name="T4" fmla="*/ 7 w 7"/>
                  <a:gd name="T5" fmla="*/ 112 h 112"/>
                  <a:gd name="T6" fmla="*/ 7 w 7"/>
                  <a:gd name="T7" fmla="*/ 0 h 112"/>
                  <a:gd name="T8" fmla="*/ 0 w 7"/>
                  <a:gd name="T9" fmla="*/ 0 h 1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2"/>
                  <a:gd name="T17" fmla="*/ 7 w 7"/>
                  <a:gd name="T18" fmla="*/ 112 h 1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2">
                    <a:moveTo>
                      <a:pt x="0" y="0"/>
                    </a:moveTo>
                    <a:lnTo>
                      <a:pt x="0" y="111"/>
                    </a:lnTo>
                    <a:lnTo>
                      <a:pt x="7" y="112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3" name="Freeform 113"/>
              <p:cNvSpPr>
                <a:spLocks/>
              </p:cNvSpPr>
              <p:nvPr/>
            </p:nvSpPr>
            <p:spPr bwMode="auto">
              <a:xfrm>
                <a:off x="712" y="2130"/>
                <a:ext cx="9" cy="0"/>
              </a:xfrm>
              <a:custGeom>
                <a:avLst/>
                <a:gdLst>
                  <a:gd name="T0" fmla="*/ 0 w 8"/>
                  <a:gd name="T1" fmla="*/ 0 h 3"/>
                  <a:gd name="T2" fmla="*/ 362 w 8"/>
                  <a:gd name="T3" fmla="*/ 0 h 3"/>
                  <a:gd name="T4" fmla="*/ 407 w 8"/>
                  <a:gd name="T5" fmla="*/ 0 h 3"/>
                  <a:gd name="T6" fmla="*/ 1 w 8"/>
                  <a:gd name="T7" fmla="*/ 0 h 3"/>
                  <a:gd name="T8" fmla="*/ 0 w 8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3"/>
                  <a:gd name="T17" fmla="*/ 8 w 8"/>
                  <a:gd name="T18" fmla="*/ 0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3">
                    <a:moveTo>
                      <a:pt x="0" y="3"/>
                    </a:moveTo>
                    <a:lnTo>
                      <a:pt x="7" y="3"/>
                    </a:lnTo>
                    <a:lnTo>
                      <a:pt x="8" y="2"/>
                    </a:lnTo>
                    <a:lnTo>
                      <a:pt x="1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4" name="Freeform 114"/>
              <p:cNvSpPr>
                <a:spLocks/>
              </p:cNvSpPr>
              <p:nvPr/>
            </p:nvSpPr>
            <p:spPr bwMode="auto">
              <a:xfrm>
                <a:off x="712" y="2242"/>
                <a:ext cx="9" cy="2"/>
              </a:xfrm>
              <a:custGeom>
                <a:avLst/>
                <a:gdLst>
                  <a:gd name="T0" fmla="*/ 0 w 8"/>
                  <a:gd name="T1" fmla="*/ 1 h 4"/>
                  <a:gd name="T2" fmla="*/ 1 w 8"/>
                  <a:gd name="T3" fmla="*/ 1 h 4"/>
                  <a:gd name="T4" fmla="*/ 407 w 8"/>
                  <a:gd name="T5" fmla="*/ 1 h 4"/>
                  <a:gd name="T6" fmla="*/ 407 w 8"/>
                  <a:gd name="T7" fmla="*/ 1 h 4"/>
                  <a:gd name="T8" fmla="*/ 361 w 8"/>
                  <a:gd name="T9" fmla="*/ 0 h 4"/>
                  <a:gd name="T10" fmla="*/ 0 w 8"/>
                  <a:gd name="T11" fmla="*/ 1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4"/>
                  <a:gd name="T20" fmla="*/ 8 w 8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4">
                    <a:moveTo>
                      <a:pt x="0" y="2"/>
                    </a:moveTo>
                    <a:lnTo>
                      <a:pt x="1" y="3"/>
                    </a:lnTo>
                    <a:lnTo>
                      <a:pt x="8" y="4"/>
                    </a:lnTo>
                    <a:lnTo>
                      <a:pt x="8" y="3"/>
                    </a:lnTo>
                    <a:lnTo>
                      <a:pt x="6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5" name="Freeform 115"/>
              <p:cNvSpPr>
                <a:spLocks/>
              </p:cNvSpPr>
              <p:nvPr/>
            </p:nvSpPr>
            <p:spPr bwMode="auto">
              <a:xfrm>
                <a:off x="712" y="2133"/>
                <a:ext cx="7" cy="112"/>
              </a:xfrm>
              <a:custGeom>
                <a:avLst/>
                <a:gdLst>
                  <a:gd name="T0" fmla="*/ 0 w 7"/>
                  <a:gd name="T1" fmla="*/ 0 h 110"/>
                  <a:gd name="T2" fmla="*/ 0 w 7"/>
                  <a:gd name="T3" fmla="*/ 197 h 110"/>
                  <a:gd name="T4" fmla="*/ 7 w 7"/>
                  <a:gd name="T5" fmla="*/ 199 h 110"/>
                  <a:gd name="T6" fmla="*/ 7 w 7"/>
                  <a:gd name="T7" fmla="*/ 0 h 110"/>
                  <a:gd name="T8" fmla="*/ 0 w 7"/>
                  <a:gd name="T9" fmla="*/ 0 h 1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0"/>
                  <a:gd name="T17" fmla="*/ 7 w 7"/>
                  <a:gd name="T18" fmla="*/ 110 h 1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0">
                    <a:moveTo>
                      <a:pt x="0" y="0"/>
                    </a:moveTo>
                    <a:lnTo>
                      <a:pt x="0" y="109"/>
                    </a:lnTo>
                    <a:lnTo>
                      <a:pt x="7" y="110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6" name="Freeform 116"/>
              <p:cNvSpPr>
                <a:spLocks/>
              </p:cNvSpPr>
              <p:nvPr/>
            </p:nvSpPr>
            <p:spPr bwMode="auto">
              <a:xfrm>
                <a:off x="722" y="2135"/>
                <a:ext cx="7" cy="114"/>
              </a:xfrm>
              <a:custGeom>
                <a:avLst/>
                <a:gdLst>
                  <a:gd name="T0" fmla="*/ 0 w 6"/>
                  <a:gd name="T1" fmla="*/ 0 h 113"/>
                  <a:gd name="T2" fmla="*/ 0 w 6"/>
                  <a:gd name="T3" fmla="*/ 146 h 113"/>
                  <a:gd name="T4" fmla="*/ 1210 w 6"/>
                  <a:gd name="T5" fmla="*/ 147 h 113"/>
                  <a:gd name="T6" fmla="*/ 1210 w 6"/>
                  <a:gd name="T7" fmla="*/ 0 h 113"/>
                  <a:gd name="T8" fmla="*/ 0 w 6"/>
                  <a:gd name="T9" fmla="*/ 0 h 1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13"/>
                  <a:gd name="T17" fmla="*/ 6 w 6"/>
                  <a:gd name="T18" fmla="*/ 113 h 1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13">
                    <a:moveTo>
                      <a:pt x="0" y="0"/>
                    </a:moveTo>
                    <a:lnTo>
                      <a:pt x="0" y="112"/>
                    </a:lnTo>
                    <a:lnTo>
                      <a:pt x="6" y="113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7" name="Freeform 117"/>
              <p:cNvSpPr>
                <a:spLocks/>
              </p:cNvSpPr>
              <p:nvPr/>
            </p:nvSpPr>
            <p:spPr bwMode="auto">
              <a:xfrm>
                <a:off x="722" y="2133"/>
                <a:ext cx="7" cy="2"/>
              </a:xfrm>
              <a:custGeom>
                <a:avLst/>
                <a:gdLst>
                  <a:gd name="T0" fmla="*/ 0 w 7"/>
                  <a:gd name="T1" fmla="*/ 2 h 2"/>
                  <a:gd name="T2" fmla="*/ 6 w 7"/>
                  <a:gd name="T3" fmla="*/ 2 h 2"/>
                  <a:gd name="T4" fmla="*/ 7 w 7"/>
                  <a:gd name="T5" fmla="*/ 1 h 2"/>
                  <a:gd name="T6" fmla="*/ 0 w 7"/>
                  <a:gd name="T7" fmla="*/ 0 h 2"/>
                  <a:gd name="T8" fmla="*/ 0 w 7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2"/>
                    </a:moveTo>
                    <a:lnTo>
                      <a:pt x="6" y="2"/>
                    </a:lnTo>
                    <a:lnTo>
                      <a:pt x="7" y="1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8" name="Freeform 118"/>
              <p:cNvSpPr>
                <a:spLocks/>
              </p:cNvSpPr>
              <p:nvPr/>
            </p:nvSpPr>
            <p:spPr bwMode="auto">
              <a:xfrm>
                <a:off x="722" y="2245"/>
                <a:ext cx="7" cy="7"/>
              </a:xfrm>
              <a:custGeom>
                <a:avLst/>
                <a:gdLst>
                  <a:gd name="T0" fmla="*/ 0 w 7"/>
                  <a:gd name="T1" fmla="*/ 2147483647 h 3"/>
                  <a:gd name="T2" fmla="*/ 1 w 7"/>
                  <a:gd name="T3" fmla="*/ 2147483647 h 3"/>
                  <a:gd name="T4" fmla="*/ 7 w 7"/>
                  <a:gd name="T5" fmla="*/ 2147483647 h 3"/>
                  <a:gd name="T6" fmla="*/ 7 w 7"/>
                  <a:gd name="T7" fmla="*/ 2147483647 h 3"/>
                  <a:gd name="T8" fmla="*/ 5 w 7"/>
                  <a:gd name="T9" fmla="*/ 0 h 3"/>
                  <a:gd name="T10" fmla="*/ 0 w 7"/>
                  <a:gd name="T11" fmla="*/ 2147483647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3"/>
                  <a:gd name="T20" fmla="*/ 7 w 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3">
                    <a:moveTo>
                      <a:pt x="0" y="1"/>
                    </a:moveTo>
                    <a:lnTo>
                      <a:pt x="1" y="2"/>
                    </a:lnTo>
                    <a:lnTo>
                      <a:pt x="7" y="3"/>
                    </a:lnTo>
                    <a:lnTo>
                      <a:pt x="7" y="2"/>
                    </a:lnTo>
                    <a:lnTo>
                      <a:pt x="5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9" name="Freeform 119"/>
              <p:cNvSpPr>
                <a:spLocks/>
              </p:cNvSpPr>
              <p:nvPr/>
            </p:nvSpPr>
            <p:spPr bwMode="auto">
              <a:xfrm>
                <a:off x="722" y="2135"/>
                <a:ext cx="2" cy="112"/>
              </a:xfrm>
              <a:custGeom>
                <a:avLst/>
                <a:gdLst>
                  <a:gd name="T0" fmla="*/ 0 w 6"/>
                  <a:gd name="T1" fmla="*/ 0 h 112"/>
                  <a:gd name="T2" fmla="*/ 0 w 6"/>
                  <a:gd name="T3" fmla="*/ 111 h 112"/>
                  <a:gd name="T4" fmla="*/ 1 w 6"/>
                  <a:gd name="T5" fmla="*/ 112 h 112"/>
                  <a:gd name="T6" fmla="*/ 1 w 6"/>
                  <a:gd name="T7" fmla="*/ 1 h 112"/>
                  <a:gd name="T8" fmla="*/ 0 w 6"/>
                  <a:gd name="T9" fmla="*/ 0 h 1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12"/>
                  <a:gd name="T17" fmla="*/ 6 w 6"/>
                  <a:gd name="T18" fmla="*/ 112 h 1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12">
                    <a:moveTo>
                      <a:pt x="0" y="0"/>
                    </a:moveTo>
                    <a:lnTo>
                      <a:pt x="0" y="111"/>
                    </a:lnTo>
                    <a:lnTo>
                      <a:pt x="6" y="112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0" name="Freeform 120"/>
              <p:cNvSpPr>
                <a:spLocks/>
              </p:cNvSpPr>
              <p:nvPr/>
            </p:nvSpPr>
            <p:spPr bwMode="auto">
              <a:xfrm>
                <a:off x="731" y="2137"/>
                <a:ext cx="7" cy="114"/>
              </a:xfrm>
              <a:custGeom>
                <a:avLst/>
                <a:gdLst>
                  <a:gd name="T0" fmla="*/ 0 w 7"/>
                  <a:gd name="T1" fmla="*/ 0 h 114"/>
                  <a:gd name="T2" fmla="*/ 0 w 7"/>
                  <a:gd name="T3" fmla="*/ 113 h 114"/>
                  <a:gd name="T4" fmla="*/ 7 w 7"/>
                  <a:gd name="T5" fmla="*/ 114 h 114"/>
                  <a:gd name="T6" fmla="*/ 7 w 7"/>
                  <a:gd name="T7" fmla="*/ 0 h 114"/>
                  <a:gd name="T8" fmla="*/ 0 w 7"/>
                  <a:gd name="T9" fmla="*/ 0 h 1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4"/>
                  <a:gd name="T17" fmla="*/ 7 w 7"/>
                  <a:gd name="T18" fmla="*/ 114 h 1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4">
                    <a:moveTo>
                      <a:pt x="0" y="0"/>
                    </a:moveTo>
                    <a:lnTo>
                      <a:pt x="0" y="113"/>
                    </a:lnTo>
                    <a:lnTo>
                      <a:pt x="7" y="114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1" name="Freeform 121"/>
              <p:cNvSpPr>
                <a:spLocks/>
              </p:cNvSpPr>
              <p:nvPr/>
            </p:nvSpPr>
            <p:spPr bwMode="auto">
              <a:xfrm>
                <a:off x="729" y="2135"/>
                <a:ext cx="9" cy="2"/>
              </a:xfrm>
              <a:custGeom>
                <a:avLst/>
                <a:gdLst>
                  <a:gd name="T0" fmla="*/ 0 w 8"/>
                  <a:gd name="T1" fmla="*/ 2147483647 h 1"/>
                  <a:gd name="T2" fmla="*/ 362 w 8"/>
                  <a:gd name="T3" fmla="*/ 2147483647 h 1"/>
                  <a:gd name="T4" fmla="*/ 407 w 8"/>
                  <a:gd name="T5" fmla="*/ 0 h 1"/>
                  <a:gd name="T6" fmla="*/ 1 w 8"/>
                  <a:gd name="T7" fmla="*/ 0 h 1"/>
                  <a:gd name="T8" fmla="*/ 0 w 8"/>
                  <a:gd name="T9" fmla="*/ 2147483647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1"/>
                  <a:gd name="T17" fmla="*/ 8 w 8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1">
                    <a:moveTo>
                      <a:pt x="0" y="1"/>
                    </a:moveTo>
                    <a:lnTo>
                      <a:pt x="7" y="1"/>
                    </a:lnTo>
                    <a:lnTo>
                      <a:pt x="8" y="0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2" name="Freeform 122"/>
              <p:cNvSpPr>
                <a:spLocks/>
              </p:cNvSpPr>
              <p:nvPr/>
            </p:nvSpPr>
            <p:spPr bwMode="auto">
              <a:xfrm>
                <a:off x="729" y="2249"/>
                <a:ext cx="9" cy="2"/>
              </a:xfrm>
              <a:custGeom>
                <a:avLst/>
                <a:gdLst>
                  <a:gd name="T0" fmla="*/ 0 w 8"/>
                  <a:gd name="T1" fmla="*/ 0 h 4"/>
                  <a:gd name="T2" fmla="*/ 1 w 8"/>
                  <a:gd name="T3" fmla="*/ 1 h 4"/>
                  <a:gd name="T4" fmla="*/ 407 w 8"/>
                  <a:gd name="T5" fmla="*/ 1 h 4"/>
                  <a:gd name="T6" fmla="*/ 407 w 8"/>
                  <a:gd name="T7" fmla="*/ 1 h 4"/>
                  <a:gd name="T8" fmla="*/ 361 w 8"/>
                  <a:gd name="T9" fmla="*/ 0 h 4"/>
                  <a:gd name="T10" fmla="*/ 0 w 8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4"/>
                  <a:gd name="T20" fmla="*/ 8 w 8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4">
                    <a:moveTo>
                      <a:pt x="0" y="0"/>
                    </a:moveTo>
                    <a:lnTo>
                      <a:pt x="1" y="2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3" name="Freeform 123"/>
              <p:cNvSpPr>
                <a:spLocks/>
              </p:cNvSpPr>
              <p:nvPr/>
            </p:nvSpPr>
            <p:spPr bwMode="auto">
              <a:xfrm>
                <a:off x="729" y="2137"/>
                <a:ext cx="7" cy="114"/>
              </a:xfrm>
              <a:custGeom>
                <a:avLst/>
                <a:gdLst>
                  <a:gd name="T0" fmla="*/ 0 w 7"/>
                  <a:gd name="T1" fmla="*/ 0 h 113"/>
                  <a:gd name="T2" fmla="*/ 0 w 7"/>
                  <a:gd name="T3" fmla="*/ 145 h 113"/>
                  <a:gd name="T4" fmla="*/ 7 w 7"/>
                  <a:gd name="T5" fmla="*/ 147 h 113"/>
                  <a:gd name="T6" fmla="*/ 7 w 7"/>
                  <a:gd name="T7" fmla="*/ 1 h 113"/>
                  <a:gd name="T8" fmla="*/ 0 w 7"/>
                  <a:gd name="T9" fmla="*/ 0 h 1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3"/>
                  <a:gd name="T17" fmla="*/ 7 w 7"/>
                  <a:gd name="T18" fmla="*/ 113 h 1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3">
                    <a:moveTo>
                      <a:pt x="0" y="0"/>
                    </a:moveTo>
                    <a:lnTo>
                      <a:pt x="0" y="111"/>
                    </a:lnTo>
                    <a:lnTo>
                      <a:pt x="7" y="113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4" name="Freeform 124"/>
              <p:cNvSpPr>
                <a:spLocks/>
              </p:cNvSpPr>
              <p:nvPr/>
            </p:nvSpPr>
            <p:spPr bwMode="auto">
              <a:xfrm>
                <a:off x="738" y="2137"/>
                <a:ext cx="7" cy="116"/>
              </a:xfrm>
              <a:custGeom>
                <a:avLst/>
                <a:gdLst>
                  <a:gd name="T0" fmla="*/ 0 w 7"/>
                  <a:gd name="T1" fmla="*/ 0 h 116"/>
                  <a:gd name="T2" fmla="*/ 0 w 7"/>
                  <a:gd name="T3" fmla="*/ 115 h 116"/>
                  <a:gd name="T4" fmla="*/ 7 w 7"/>
                  <a:gd name="T5" fmla="*/ 116 h 116"/>
                  <a:gd name="T6" fmla="*/ 7 w 7"/>
                  <a:gd name="T7" fmla="*/ 0 h 116"/>
                  <a:gd name="T8" fmla="*/ 0 w 7"/>
                  <a:gd name="T9" fmla="*/ 0 h 1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6"/>
                  <a:gd name="T17" fmla="*/ 7 w 7"/>
                  <a:gd name="T18" fmla="*/ 116 h 1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6">
                    <a:moveTo>
                      <a:pt x="0" y="0"/>
                    </a:moveTo>
                    <a:lnTo>
                      <a:pt x="0" y="115"/>
                    </a:lnTo>
                    <a:lnTo>
                      <a:pt x="7" y="116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5" name="Freeform 125"/>
              <p:cNvSpPr>
                <a:spLocks/>
              </p:cNvSpPr>
              <p:nvPr/>
            </p:nvSpPr>
            <p:spPr bwMode="auto">
              <a:xfrm>
                <a:off x="738" y="2137"/>
                <a:ext cx="7" cy="0"/>
              </a:xfrm>
              <a:custGeom>
                <a:avLst/>
                <a:gdLst>
                  <a:gd name="T0" fmla="*/ 0 w 7"/>
                  <a:gd name="T1" fmla="*/ 0 h 1"/>
                  <a:gd name="T2" fmla="*/ 5 w 7"/>
                  <a:gd name="T3" fmla="*/ 0 h 1"/>
                  <a:gd name="T4" fmla="*/ 7 w 7"/>
                  <a:gd name="T5" fmla="*/ 0 h 1"/>
                  <a:gd name="T6" fmla="*/ 0 w 7"/>
                  <a:gd name="T7" fmla="*/ 0 h 1"/>
                  <a:gd name="T8" fmla="*/ 0 w 7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"/>
                  <a:gd name="T17" fmla="*/ 7 w 7"/>
                  <a:gd name="T18" fmla="*/ 0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">
                    <a:moveTo>
                      <a:pt x="0" y="1"/>
                    </a:moveTo>
                    <a:lnTo>
                      <a:pt x="5" y="1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6" name="Freeform 126"/>
              <p:cNvSpPr>
                <a:spLocks/>
              </p:cNvSpPr>
              <p:nvPr/>
            </p:nvSpPr>
            <p:spPr bwMode="auto">
              <a:xfrm>
                <a:off x="738" y="2251"/>
                <a:ext cx="7" cy="2"/>
              </a:xfrm>
              <a:custGeom>
                <a:avLst/>
                <a:gdLst>
                  <a:gd name="T0" fmla="*/ 0 w 7"/>
                  <a:gd name="T1" fmla="*/ 0 h 3"/>
                  <a:gd name="T2" fmla="*/ 0 w 7"/>
                  <a:gd name="T3" fmla="*/ 1 h 3"/>
                  <a:gd name="T4" fmla="*/ 7 w 7"/>
                  <a:gd name="T5" fmla="*/ 1 h 3"/>
                  <a:gd name="T6" fmla="*/ 7 w 7"/>
                  <a:gd name="T7" fmla="*/ 1 h 3"/>
                  <a:gd name="T8" fmla="*/ 4 w 7"/>
                  <a:gd name="T9" fmla="*/ 0 h 3"/>
                  <a:gd name="T10" fmla="*/ 0 w 7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3"/>
                  <a:gd name="T20" fmla="*/ 7 w 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3">
                    <a:moveTo>
                      <a:pt x="0" y="0"/>
                    </a:moveTo>
                    <a:lnTo>
                      <a:pt x="0" y="1"/>
                    </a:lnTo>
                    <a:lnTo>
                      <a:pt x="7" y="3"/>
                    </a:lnTo>
                    <a:lnTo>
                      <a:pt x="7" y="1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7" name="Freeform 127"/>
              <p:cNvSpPr>
                <a:spLocks/>
              </p:cNvSpPr>
              <p:nvPr/>
            </p:nvSpPr>
            <p:spPr bwMode="auto">
              <a:xfrm>
                <a:off x="738" y="2137"/>
                <a:ext cx="5" cy="114"/>
              </a:xfrm>
              <a:custGeom>
                <a:avLst/>
                <a:gdLst>
                  <a:gd name="T0" fmla="*/ 0 w 5"/>
                  <a:gd name="T1" fmla="*/ 0 h 114"/>
                  <a:gd name="T2" fmla="*/ 0 w 5"/>
                  <a:gd name="T3" fmla="*/ 113 h 114"/>
                  <a:gd name="T4" fmla="*/ 5 w 5"/>
                  <a:gd name="T5" fmla="*/ 114 h 114"/>
                  <a:gd name="T6" fmla="*/ 5 w 5"/>
                  <a:gd name="T7" fmla="*/ 0 h 114"/>
                  <a:gd name="T8" fmla="*/ 0 w 5"/>
                  <a:gd name="T9" fmla="*/ 0 h 1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114"/>
                  <a:gd name="T17" fmla="*/ 5 w 5"/>
                  <a:gd name="T18" fmla="*/ 114 h 1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114">
                    <a:moveTo>
                      <a:pt x="0" y="0"/>
                    </a:moveTo>
                    <a:lnTo>
                      <a:pt x="0" y="113"/>
                    </a:lnTo>
                    <a:lnTo>
                      <a:pt x="5" y="114"/>
                    </a:lnTo>
                    <a:lnTo>
                      <a:pt x="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8" name="Freeform 128"/>
              <p:cNvSpPr>
                <a:spLocks/>
              </p:cNvSpPr>
              <p:nvPr/>
            </p:nvSpPr>
            <p:spPr bwMode="auto">
              <a:xfrm>
                <a:off x="748" y="2140"/>
                <a:ext cx="7" cy="119"/>
              </a:xfrm>
              <a:custGeom>
                <a:avLst/>
                <a:gdLst>
                  <a:gd name="T0" fmla="*/ 0 w 7"/>
                  <a:gd name="T1" fmla="*/ 0 h 117"/>
                  <a:gd name="T2" fmla="*/ 0 w 7"/>
                  <a:gd name="T3" fmla="*/ 201 h 117"/>
                  <a:gd name="T4" fmla="*/ 7 w 7"/>
                  <a:gd name="T5" fmla="*/ 204 h 117"/>
                  <a:gd name="T6" fmla="*/ 7 w 7"/>
                  <a:gd name="T7" fmla="*/ 0 h 117"/>
                  <a:gd name="T8" fmla="*/ 0 w 7"/>
                  <a:gd name="T9" fmla="*/ 0 h 1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7"/>
                  <a:gd name="T17" fmla="*/ 7 w 7"/>
                  <a:gd name="T18" fmla="*/ 117 h 1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7">
                    <a:moveTo>
                      <a:pt x="0" y="0"/>
                    </a:moveTo>
                    <a:lnTo>
                      <a:pt x="0" y="115"/>
                    </a:lnTo>
                    <a:lnTo>
                      <a:pt x="7" y="117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9" name="Freeform 129"/>
              <p:cNvSpPr>
                <a:spLocks/>
              </p:cNvSpPr>
              <p:nvPr/>
            </p:nvSpPr>
            <p:spPr bwMode="auto">
              <a:xfrm>
                <a:off x="748" y="2137"/>
                <a:ext cx="7" cy="2"/>
              </a:xfrm>
              <a:custGeom>
                <a:avLst/>
                <a:gdLst>
                  <a:gd name="T0" fmla="*/ 0 w 7"/>
                  <a:gd name="T1" fmla="*/ 1 h 3"/>
                  <a:gd name="T2" fmla="*/ 7 w 7"/>
                  <a:gd name="T3" fmla="*/ 1 h 3"/>
                  <a:gd name="T4" fmla="*/ 7 w 7"/>
                  <a:gd name="T5" fmla="*/ 1 h 3"/>
                  <a:gd name="T6" fmla="*/ 0 w 7"/>
                  <a:gd name="T7" fmla="*/ 0 h 3"/>
                  <a:gd name="T8" fmla="*/ 0 w 7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3"/>
                  <a:gd name="T17" fmla="*/ 7 w 7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3">
                    <a:moveTo>
                      <a:pt x="0" y="2"/>
                    </a:moveTo>
                    <a:lnTo>
                      <a:pt x="7" y="3"/>
                    </a:lnTo>
                    <a:lnTo>
                      <a:pt x="7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0" name="Freeform 130"/>
              <p:cNvSpPr>
                <a:spLocks/>
              </p:cNvSpPr>
              <p:nvPr/>
            </p:nvSpPr>
            <p:spPr bwMode="auto">
              <a:xfrm>
                <a:off x="748" y="2254"/>
                <a:ext cx="7" cy="5"/>
              </a:xfrm>
              <a:custGeom>
                <a:avLst/>
                <a:gdLst>
                  <a:gd name="T0" fmla="*/ 0 w 8"/>
                  <a:gd name="T1" fmla="*/ 1 h 5"/>
                  <a:gd name="T2" fmla="*/ 1 w 8"/>
                  <a:gd name="T3" fmla="*/ 2 h 5"/>
                  <a:gd name="T4" fmla="*/ 4 w 8"/>
                  <a:gd name="T5" fmla="*/ 5 h 5"/>
                  <a:gd name="T6" fmla="*/ 4 w 8"/>
                  <a:gd name="T7" fmla="*/ 2 h 5"/>
                  <a:gd name="T8" fmla="*/ 4 w 8"/>
                  <a:gd name="T9" fmla="*/ 0 h 5"/>
                  <a:gd name="T10" fmla="*/ 0 w 8"/>
                  <a:gd name="T11" fmla="*/ 1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5"/>
                  <a:gd name="T20" fmla="*/ 8 w 8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5">
                    <a:moveTo>
                      <a:pt x="0" y="1"/>
                    </a:moveTo>
                    <a:lnTo>
                      <a:pt x="1" y="2"/>
                    </a:lnTo>
                    <a:lnTo>
                      <a:pt x="8" y="5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1" name="Freeform 131"/>
              <p:cNvSpPr>
                <a:spLocks/>
              </p:cNvSpPr>
              <p:nvPr/>
            </p:nvSpPr>
            <p:spPr bwMode="auto">
              <a:xfrm>
                <a:off x="748" y="2140"/>
                <a:ext cx="7" cy="116"/>
              </a:xfrm>
              <a:custGeom>
                <a:avLst/>
                <a:gdLst>
                  <a:gd name="T0" fmla="*/ 0 w 7"/>
                  <a:gd name="T1" fmla="*/ 0 h 115"/>
                  <a:gd name="T2" fmla="*/ 0 w 7"/>
                  <a:gd name="T3" fmla="*/ 148 h 115"/>
                  <a:gd name="T4" fmla="*/ 7 w 7"/>
                  <a:gd name="T5" fmla="*/ 149 h 115"/>
                  <a:gd name="T6" fmla="*/ 7 w 7"/>
                  <a:gd name="T7" fmla="*/ 1 h 115"/>
                  <a:gd name="T8" fmla="*/ 0 w 7"/>
                  <a:gd name="T9" fmla="*/ 0 h 1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5"/>
                  <a:gd name="T17" fmla="*/ 7 w 7"/>
                  <a:gd name="T18" fmla="*/ 115 h 1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5">
                    <a:moveTo>
                      <a:pt x="0" y="0"/>
                    </a:moveTo>
                    <a:lnTo>
                      <a:pt x="0" y="114"/>
                    </a:lnTo>
                    <a:lnTo>
                      <a:pt x="7" y="115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2" name="Freeform 132"/>
              <p:cNvSpPr>
                <a:spLocks/>
              </p:cNvSpPr>
              <p:nvPr/>
            </p:nvSpPr>
            <p:spPr bwMode="auto">
              <a:xfrm>
                <a:off x="757" y="2140"/>
                <a:ext cx="7" cy="119"/>
              </a:xfrm>
              <a:custGeom>
                <a:avLst/>
                <a:gdLst>
                  <a:gd name="T0" fmla="*/ 0 w 7"/>
                  <a:gd name="T1" fmla="*/ 0 h 118"/>
                  <a:gd name="T2" fmla="*/ 0 w 7"/>
                  <a:gd name="T3" fmla="*/ 151 h 118"/>
                  <a:gd name="T4" fmla="*/ 7 w 7"/>
                  <a:gd name="T5" fmla="*/ 152 h 118"/>
                  <a:gd name="T6" fmla="*/ 7 w 7"/>
                  <a:gd name="T7" fmla="*/ 0 h 118"/>
                  <a:gd name="T8" fmla="*/ 0 w 7"/>
                  <a:gd name="T9" fmla="*/ 0 h 1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8"/>
                  <a:gd name="T17" fmla="*/ 7 w 7"/>
                  <a:gd name="T18" fmla="*/ 118 h 1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8">
                    <a:moveTo>
                      <a:pt x="0" y="0"/>
                    </a:moveTo>
                    <a:lnTo>
                      <a:pt x="0" y="117"/>
                    </a:lnTo>
                    <a:lnTo>
                      <a:pt x="7" y="118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3" name="Freeform 133"/>
              <p:cNvSpPr>
                <a:spLocks/>
              </p:cNvSpPr>
              <p:nvPr/>
            </p:nvSpPr>
            <p:spPr bwMode="auto">
              <a:xfrm>
                <a:off x="755" y="2140"/>
                <a:ext cx="9" cy="2"/>
              </a:xfrm>
              <a:custGeom>
                <a:avLst/>
                <a:gdLst>
                  <a:gd name="T0" fmla="*/ 0 w 8"/>
                  <a:gd name="T1" fmla="*/ 2 h 2"/>
                  <a:gd name="T2" fmla="*/ 362 w 8"/>
                  <a:gd name="T3" fmla="*/ 2 h 2"/>
                  <a:gd name="T4" fmla="*/ 407 w 8"/>
                  <a:gd name="T5" fmla="*/ 1 h 2"/>
                  <a:gd name="T6" fmla="*/ 1 w 8"/>
                  <a:gd name="T7" fmla="*/ 0 h 2"/>
                  <a:gd name="T8" fmla="*/ 0 w 8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2"/>
                  <a:gd name="T17" fmla="*/ 8 w 8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2">
                    <a:moveTo>
                      <a:pt x="0" y="2"/>
                    </a:moveTo>
                    <a:lnTo>
                      <a:pt x="7" y="2"/>
                    </a:lnTo>
                    <a:lnTo>
                      <a:pt x="8" y="1"/>
                    </a:lnTo>
                    <a:lnTo>
                      <a:pt x="1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4" name="Freeform 134"/>
              <p:cNvSpPr>
                <a:spLocks/>
              </p:cNvSpPr>
              <p:nvPr/>
            </p:nvSpPr>
            <p:spPr bwMode="auto">
              <a:xfrm>
                <a:off x="755" y="2258"/>
                <a:ext cx="9" cy="2"/>
              </a:xfrm>
              <a:custGeom>
                <a:avLst/>
                <a:gdLst>
                  <a:gd name="T0" fmla="*/ 0 w 8"/>
                  <a:gd name="T1" fmla="*/ 0 h 3"/>
                  <a:gd name="T2" fmla="*/ 1 w 8"/>
                  <a:gd name="T3" fmla="*/ 1 h 3"/>
                  <a:gd name="T4" fmla="*/ 407 w 8"/>
                  <a:gd name="T5" fmla="*/ 1 h 3"/>
                  <a:gd name="T6" fmla="*/ 407 w 8"/>
                  <a:gd name="T7" fmla="*/ 1 h 3"/>
                  <a:gd name="T8" fmla="*/ 361 w 8"/>
                  <a:gd name="T9" fmla="*/ 0 h 3"/>
                  <a:gd name="T10" fmla="*/ 0 w 8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3"/>
                  <a:gd name="T20" fmla="*/ 8 w 8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3">
                    <a:moveTo>
                      <a:pt x="0" y="0"/>
                    </a:moveTo>
                    <a:lnTo>
                      <a:pt x="1" y="2"/>
                    </a:lnTo>
                    <a:lnTo>
                      <a:pt x="8" y="3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5" name="Freeform 135"/>
              <p:cNvSpPr>
                <a:spLocks/>
              </p:cNvSpPr>
              <p:nvPr/>
            </p:nvSpPr>
            <p:spPr bwMode="auto">
              <a:xfrm>
                <a:off x="755" y="2142"/>
                <a:ext cx="7" cy="116"/>
              </a:xfrm>
              <a:custGeom>
                <a:avLst/>
                <a:gdLst>
                  <a:gd name="T0" fmla="*/ 0 w 7"/>
                  <a:gd name="T1" fmla="*/ 0 h 116"/>
                  <a:gd name="T2" fmla="*/ 0 w 7"/>
                  <a:gd name="T3" fmla="*/ 115 h 116"/>
                  <a:gd name="T4" fmla="*/ 7 w 7"/>
                  <a:gd name="T5" fmla="*/ 116 h 116"/>
                  <a:gd name="T6" fmla="*/ 7 w 7"/>
                  <a:gd name="T7" fmla="*/ 0 h 116"/>
                  <a:gd name="T8" fmla="*/ 0 w 7"/>
                  <a:gd name="T9" fmla="*/ 0 h 1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6"/>
                  <a:gd name="T17" fmla="*/ 7 w 7"/>
                  <a:gd name="T18" fmla="*/ 116 h 1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6">
                    <a:moveTo>
                      <a:pt x="0" y="0"/>
                    </a:moveTo>
                    <a:lnTo>
                      <a:pt x="0" y="115"/>
                    </a:lnTo>
                    <a:lnTo>
                      <a:pt x="7" y="116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6" name="Freeform 136"/>
              <p:cNvSpPr>
                <a:spLocks/>
              </p:cNvSpPr>
              <p:nvPr/>
            </p:nvSpPr>
            <p:spPr bwMode="auto">
              <a:xfrm>
                <a:off x="653" y="2121"/>
                <a:ext cx="7" cy="105"/>
              </a:xfrm>
              <a:custGeom>
                <a:avLst/>
                <a:gdLst>
                  <a:gd name="T0" fmla="*/ 0 w 6"/>
                  <a:gd name="T1" fmla="*/ 0 h 103"/>
                  <a:gd name="T2" fmla="*/ 0 w 6"/>
                  <a:gd name="T3" fmla="*/ 193 h 103"/>
                  <a:gd name="T4" fmla="*/ 1210 w 6"/>
                  <a:gd name="T5" fmla="*/ 195 h 103"/>
                  <a:gd name="T6" fmla="*/ 1210 w 6"/>
                  <a:gd name="T7" fmla="*/ 0 h 103"/>
                  <a:gd name="T8" fmla="*/ 0 w 6"/>
                  <a:gd name="T9" fmla="*/ 0 h 10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03"/>
                  <a:gd name="T17" fmla="*/ 6 w 6"/>
                  <a:gd name="T18" fmla="*/ 103 h 10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03">
                    <a:moveTo>
                      <a:pt x="0" y="0"/>
                    </a:moveTo>
                    <a:lnTo>
                      <a:pt x="0" y="102"/>
                    </a:lnTo>
                    <a:lnTo>
                      <a:pt x="6" y="103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7" name="Freeform 137"/>
              <p:cNvSpPr>
                <a:spLocks/>
              </p:cNvSpPr>
              <p:nvPr/>
            </p:nvSpPr>
            <p:spPr bwMode="auto">
              <a:xfrm>
                <a:off x="653" y="2121"/>
                <a:ext cx="7" cy="2"/>
              </a:xfrm>
              <a:custGeom>
                <a:avLst/>
                <a:gdLst>
                  <a:gd name="T0" fmla="*/ 0 w 7"/>
                  <a:gd name="T1" fmla="*/ 2147483647 h 1"/>
                  <a:gd name="T2" fmla="*/ 6 w 7"/>
                  <a:gd name="T3" fmla="*/ 2147483647 h 1"/>
                  <a:gd name="T4" fmla="*/ 7 w 7"/>
                  <a:gd name="T5" fmla="*/ 0 h 1"/>
                  <a:gd name="T6" fmla="*/ 0 w 7"/>
                  <a:gd name="T7" fmla="*/ 0 h 1"/>
                  <a:gd name="T8" fmla="*/ 0 w 7"/>
                  <a:gd name="T9" fmla="*/ 2147483647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"/>
                  <a:gd name="T17" fmla="*/ 7 w 7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">
                    <a:moveTo>
                      <a:pt x="0" y="1"/>
                    </a:moveTo>
                    <a:lnTo>
                      <a:pt x="6" y="1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8" name="Freeform 138"/>
              <p:cNvSpPr>
                <a:spLocks/>
              </p:cNvSpPr>
              <p:nvPr/>
            </p:nvSpPr>
            <p:spPr bwMode="auto">
              <a:xfrm>
                <a:off x="653" y="2221"/>
                <a:ext cx="7" cy="5"/>
              </a:xfrm>
              <a:custGeom>
                <a:avLst/>
                <a:gdLst>
                  <a:gd name="T0" fmla="*/ 0 w 7"/>
                  <a:gd name="T1" fmla="*/ 4929 h 4"/>
                  <a:gd name="T2" fmla="*/ 1 w 7"/>
                  <a:gd name="T3" fmla="*/ 6161 h 4"/>
                  <a:gd name="T4" fmla="*/ 7 w 7"/>
                  <a:gd name="T5" fmla="*/ 7701 h 4"/>
                  <a:gd name="T6" fmla="*/ 7 w 7"/>
                  <a:gd name="T7" fmla="*/ 6161 h 4"/>
                  <a:gd name="T8" fmla="*/ 5 w 7"/>
                  <a:gd name="T9" fmla="*/ 0 h 4"/>
                  <a:gd name="T10" fmla="*/ 0 w 7"/>
                  <a:gd name="T11" fmla="*/ 4929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4"/>
                  <a:gd name="T20" fmla="*/ 7 w 7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4">
                    <a:moveTo>
                      <a:pt x="0" y="2"/>
                    </a:moveTo>
                    <a:lnTo>
                      <a:pt x="1" y="3"/>
                    </a:lnTo>
                    <a:lnTo>
                      <a:pt x="7" y="4"/>
                    </a:lnTo>
                    <a:lnTo>
                      <a:pt x="7" y="3"/>
                    </a:lnTo>
                    <a:lnTo>
                      <a:pt x="5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9" name="Freeform 139"/>
              <p:cNvSpPr>
                <a:spLocks/>
              </p:cNvSpPr>
              <p:nvPr/>
            </p:nvSpPr>
            <p:spPr bwMode="auto">
              <a:xfrm>
                <a:off x="653" y="2212"/>
                <a:ext cx="5" cy="12"/>
              </a:xfrm>
              <a:custGeom>
                <a:avLst/>
                <a:gdLst>
                  <a:gd name="T0" fmla="*/ 0 w 6"/>
                  <a:gd name="T1" fmla="*/ 0 h 13"/>
                  <a:gd name="T2" fmla="*/ 0 w 6"/>
                  <a:gd name="T3" fmla="*/ 6 h 13"/>
                  <a:gd name="T4" fmla="*/ 3 w 6"/>
                  <a:gd name="T5" fmla="*/ 6 h 13"/>
                  <a:gd name="T6" fmla="*/ 3 w 6"/>
                  <a:gd name="T7" fmla="*/ 1 h 13"/>
                  <a:gd name="T8" fmla="*/ 0 w 6"/>
                  <a:gd name="T9" fmla="*/ 0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3"/>
                  <a:gd name="T17" fmla="*/ 6 w 6"/>
                  <a:gd name="T18" fmla="*/ 13 h 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3">
                    <a:moveTo>
                      <a:pt x="0" y="0"/>
                    </a:moveTo>
                    <a:lnTo>
                      <a:pt x="0" y="12"/>
                    </a:lnTo>
                    <a:lnTo>
                      <a:pt x="6" y="13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60" name="Freeform 140"/>
              <p:cNvSpPr>
                <a:spLocks/>
              </p:cNvSpPr>
              <p:nvPr/>
            </p:nvSpPr>
            <p:spPr bwMode="auto">
              <a:xfrm>
                <a:off x="653" y="2123"/>
                <a:ext cx="5" cy="75"/>
              </a:xfrm>
              <a:custGeom>
                <a:avLst/>
                <a:gdLst>
                  <a:gd name="T0" fmla="*/ 0 w 6"/>
                  <a:gd name="T1" fmla="*/ 0 h 75"/>
                  <a:gd name="T2" fmla="*/ 0 w 6"/>
                  <a:gd name="T3" fmla="*/ 74 h 75"/>
                  <a:gd name="T4" fmla="*/ 3 w 6"/>
                  <a:gd name="T5" fmla="*/ 75 h 75"/>
                  <a:gd name="T6" fmla="*/ 3 w 6"/>
                  <a:gd name="T7" fmla="*/ 1 h 75"/>
                  <a:gd name="T8" fmla="*/ 0 w 6"/>
                  <a:gd name="T9" fmla="*/ 0 h 7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75"/>
                  <a:gd name="T17" fmla="*/ 6 w 6"/>
                  <a:gd name="T18" fmla="*/ 75 h 7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75">
                    <a:moveTo>
                      <a:pt x="0" y="0"/>
                    </a:moveTo>
                    <a:lnTo>
                      <a:pt x="0" y="74"/>
                    </a:lnTo>
                    <a:lnTo>
                      <a:pt x="6" y="75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61" name="Freeform 141"/>
              <p:cNvSpPr>
                <a:spLocks/>
              </p:cNvSpPr>
              <p:nvPr/>
            </p:nvSpPr>
            <p:spPr bwMode="auto">
              <a:xfrm>
                <a:off x="653" y="2210"/>
                <a:ext cx="7" cy="2"/>
              </a:xfrm>
              <a:custGeom>
                <a:avLst/>
                <a:gdLst>
                  <a:gd name="T0" fmla="*/ 0 w 7"/>
                  <a:gd name="T1" fmla="*/ 1 h 3"/>
                  <a:gd name="T2" fmla="*/ 6 w 7"/>
                  <a:gd name="T3" fmla="*/ 1 h 3"/>
                  <a:gd name="T4" fmla="*/ 7 w 7"/>
                  <a:gd name="T5" fmla="*/ 1 h 3"/>
                  <a:gd name="T6" fmla="*/ 0 w 7"/>
                  <a:gd name="T7" fmla="*/ 0 h 3"/>
                  <a:gd name="T8" fmla="*/ 0 w 7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3"/>
                  <a:gd name="T17" fmla="*/ 7 w 7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3">
                    <a:moveTo>
                      <a:pt x="0" y="2"/>
                    </a:moveTo>
                    <a:lnTo>
                      <a:pt x="6" y="3"/>
                    </a:lnTo>
                    <a:lnTo>
                      <a:pt x="7" y="1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62" name="Freeform 142"/>
              <p:cNvSpPr>
                <a:spLocks/>
              </p:cNvSpPr>
              <p:nvPr/>
            </p:nvSpPr>
            <p:spPr bwMode="auto">
              <a:xfrm>
                <a:off x="653" y="2198"/>
                <a:ext cx="7" cy="0"/>
              </a:xfrm>
              <a:custGeom>
                <a:avLst/>
                <a:gdLst>
                  <a:gd name="T0" fmla="*/ 6 w 7"/>
                  <a:gd name="T1" fmla="*/ 0 h 2"/>
                  <a:gd name="T2" fmla="*/ 0 w 7"/>
                  <a:gd name="T3" fmla="*/ 0 h 2"/>
                  <a:gd name="T4" fmla="*/ 1 w 7"/>
                  <a:gd name="T5" fmla="*/ 0 h 2"/>
                  <a:gd name="T6" fmla="*/ 7 w 7"/>
                  <a:gd name="T7" fmla="*/ 0 h 2"/>
                  <a:gd name="T8" fmla="*/ 6 w 7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0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6" y="1"/>
                    </a:moveTo>
                    <a:lnTo>
                      <a:pt x="0" y="0"/>
                    </a:lnTo>
                    <a:lnTo>
                      <a:pt x="1" y="2"/>
                    </a:lnTo>
                    <a:lnTo>
                      <a:pt x="7" y="2"/>
                    </a:lnTo>
                    <a:lnTo>
                      <a:pt x="6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63" name="Rectangle 143"/>
              <p:cNvSpPr>
                <a:spLocks noChangeArrowheads="1"/>
              </p:cNvSpPr>
              <p:nvPr/>
            </p:nvSpPr>
            <p:spPr bwMode="auto">
              <a:xfrm>
                <a:off x="653" y="2205"/>
                <a:ext cx="5" cy="5"/>
              </a:xfrm>
              <a:prstGeom prst="rect">
                <a:avLst/>
              </a:prstGeom>
              <a:solidFill>
                <a:srgbClr val="2020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lnSpc>
                    <a:spcPct val="100000"/>
                  </a:lnSpc>
                  <a:spcBef>
                    <a:spcPct val="0"/>
                  </a:spcBef>
                  <a:defRPr/>
                </a:pPr>
                <a:endParaRPr lang="en-GB" sz="4000">
                  <a:latin typeface="+mn-lt"/>
                  <a:ea typeface="ＭＳ Ｐゴシック" pitchFamily="34" charset="-128"/>
                  <a:cs typeface="Arial" pitchFamily="34" charset="0"/>
                </a:endParaRPr>
              </a:p>
            </p:txBody>
          </p:sp>
          <p:sp>
            <p:nvSpPr>
              <p:cNvPr id="464" name="Freeform 144"/>
              <p:cNvSpPr>
                <a:spLocks/>
              </p:cNvSpPr>
              <p:nvPr/>
            </p:nvSpPr>
            <p:spPr bwMode="auto">
              <a:xfrm>
                <a:off x="764" y="2137"/>
                <a:ext cx="2" cy="128"/>
              </a:xfrm>
              <a:custGeom>
                <a:avLst/>
                <a:gdLst>
                  <a:gd name="T0" fmla="*/ 0 w 1"/>
                  <a:gd name="T1" fmla="*/ 161 h 127"/>
                  <a:gd name="T2" fmla="*/ 0 w 1"/>
                  <a:gd name="T3" fmla="*/ 158 h 127"/>
                  <a:gd name="T4" fmla="*/ 0 w 1"/>
                  <a:gd name="T5" fmla="*/ 0 h 127"/>
                  <a:gd name="T6" fmla="*/ 0 w 1"/>
                  <a:gd name="T7" fmla="*/ 0 h 127"/>
                  <a:gd name="T8" fmla="*/ 0 w 1"/>
                  <a:gd name="T9" fmla="*/ 161 h 12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127"/>
                  <a:gd name="T17" fmla="*/ 1 w 1"/>
                  <a:gd name="T18" fmla="*/ 127 h 12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127">
                    <a:moveTo>
                      <a:pt x="0" y="127"/>
                    </a:moveTo>
                    <a:lnTo>
                      <a:pt x="0" y="124"/>
                    </a:lnTo>
                    <a:lnTo>
                      <a:pt x="0" y="0"/>
                    </a:lnTo>
                    <a:lnTo>
                      <a:pt x="0" y="127"/>
                    </a:lnTo>
                    <a:close/>
                  </a:path>
                </a:pathLst>
              </a:custGeom>
              <a:solidFill>
                <a:srgbClr val="A0A0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65" name="Freeform 145"/>
              <p:cNvSpPr>
                <a:spLocks/>
              </p:cNvSpPr>
              <p:nvPr/>
            </p:nvSpPr>
            <p:spPr bwMode="auto">
              <a:xfrm>
                <a:off x="641" y="2116"/>
                <a:ext cx="3" cy="109"/>
              </a:xfrm>
              <a:custGeom>
                <a:avLst/>
                <a:gdLst>
                  <a:gd name="T0" fmla="*/ 0 w 1"/>
                  <a:gd name="T1" fmla="*/ 0 h 108"/>
                  <a:gd name="T2" fmla="*/ 0 w 1"/>
                  <a:gd name="T3" fmla="*/ 142 h 108"/>
                  <a:gd name="T4" fmla="*/ 0 w 1"/>
                  <a:gd name="T5" fmla="*/ 141 h 108"/>
                  <a:gd name="T6" fmla="*/ 0 w 1"/>
                  <a:gd name="T7" fmla="*/ 0 h 10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"/>
                  <a:gd name="T13" fmla="*/ 0 h 108"/>
                  <a:gd name="T14" fmla="*/ 1 w 1"/>
                  <a:gd name="T15" fmla="*/ 108 h 10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" h="108">
                    <a:moveTo>
                      <a:pt x="0" y="0"/>
                    </a:moveTo>
                    <a:lnTo>
                      <a:pt x="0" y="108"/>
                    </a:lnTo>
                    <a:lnTo>
                      <a:pt x="0" y="10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384" name="Freeform 146"/>
            <p:cNvSpPr>
              <a:spLocks/>
            </p:cNvSpPr>
            <p:nvPr/>
          </p:nvSpPr>
          <p:spPr bwMode="auto">
            <a:xfrm>
              <a:off x="778" y="1974"/>
              <a:ext cx="7" cy="370"/>
            </a:xfrm>
            <a:custGeom>
              <a:avLst/>
              <a:gdLst>
                <a:gd name="T0" fmla="*/ 0 w 7"/>
                <a:gd name="T1" fmla="*/ 2 h 370"/>
                <a:gd name="T2" fmla="*/ 0 w 7"/>
                <a:gd name="T3" fmla="*/ 370 h 370"/>
                <a:gd name="T4" fmla="*/ 7 w 7"/>
                <a:gd name="T5" fmla="*/ 363 h 370"/>
                <a:gd name="T6" fmla="*/ 7 w 7"/>
                <a:gd name="T7" fmla="*/ 0 h 370"/>
                <a:gd name="T8" fmla="*/ 0 w 7"/>
                <a:gd name="T9" fmla="*/ 2 h 37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70"/>
                <a:gd name="T17" fmla="*/ 7 w 7"/>
                <a:gd name="T18" fmla="*/ 370 h 37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70">
                  <a:moveTo>
                    <a:pt x="0" y="2"/>
                  </a:moveTo>
                  <a:lnTo>
                    <a:pt x="0" y="370"/>
                  </a:lnTo>
                  <a:lnTo>
                    <a:pt x="7" y="363"/>
                  </a:lnTo>
                  <a:lnTo>
                    <a:pt x="7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0A0A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sp>
          <p:nvSpPr>
            <p:cNvPr id="385" name="Freeform 147"/>
            <p:cNvSpPr>
              <a:spLocks/>
            </p:cNvSpPr>
            <p:nvPr/>
          </p:nvSpPr>
          <p:spPr bwMode="auto">
            <a:xfrm>
              <a:off x="632" y="1958"/>
              <a:ext cx="220" cy="21"/>
            </a:xfrm>
            <a:custGeom>
              <a:avLst/>
              <a:gdLst>
                <a:gd name="T0" fmla="*/ 0 w 220"/>
                <a:gd name="T1" fmla="*/ 101 h 20"/>
                <a:gd name="T2" fmla="*/ 147 w 220"/>
                <a:gd name="T3" fmla="*/ 96 h 20"/>
                <a:gd name="T4" fmla="*/ 220 w 220"/>
                <a:gd name="T5" fmla="*/ 0 h 20"/>
                <a:gd name="T6" fmla="*/ 96 w 220"/>
                <a:gd name="T7" fmla="*/ 3 h 20"/>
                <a:gd name="T8" fmla="*/ 0 w 220"/>
                <a:gd name="T9" fmla="*/ 101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0"/>
                <a:gd name="T16" fmla="*/ 0 h 20"/>
                <a:gd name="T17" fmla="*/ 220 w 220"/>
                <a:gd name="T18" fmla="*/ 20 h 2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0" h="20">
                  <a:moveTo>
                    <a:pt x="0" y="20"/>
                  </a:moveTo>
                  <a:lnTo>
                    <a:pt x="147" y="19"/>
                  </a:lnTo>
                  <a:lnTo>
                    <a:pt x="220" y="0"/>
                  </a:lnTo>
                  <a:lnTo>
                    <a:pt x="96" y="3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E0E0E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sp>
          <p:nvSpPr>
            <p:cNvPr id="386" name="Freeform 148"/>
            <p:cNvSpPr>
              <a:spLocks/>
            </p:cNvSpPr>
            <p:nvPr/>
          </p:nvSpPr>
          <p:spPr bwMode="auto">
            <a:xfrm>
              <a:off x="752" y="2279"/>
              <a:ext cx="9" cy="23"/>
            </a:xfrm>
            <a:custGeom>
              <a:avLst/>
              <a:gdLst>
                <a:gd name="T0" fmla="*/ 0 w 10"/>
                <a:gd name="T1" fmla="*/ 0 h 22"/>
                <a:gd name="T2" fmla="*/ 0 w 10"/>
                <a:gd name="T3" fmla="*/ 83 h 22"/>
                <a:gd name="T4" fmla="*/ 5 w 10"/>
                <a:gd name="T5" fmla="*/ 95 h 22"/>
                <a:gd name="T6" fmla="*/ 5 w 10"/>
                <a:gd name="T7" fmla="*/ 3 h 22"/>
                <a:gd name="T8" fmla="*/ 0 w 10"/>
                <a:gd name="T9" fmla="*/ 0 h 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22"/>
                <a:gd name="T17" fmla="*/ 10 w 10"/>
                <a:gd name="T18" fmla="*/ 22 h 2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22">
                  <a:moveTo>
                    <a:pt x="0" y="0"/>
                  </a:moveTo>
                  <a:lnTo>
                    <a:pt x="0" y="19"/>
                  </a:lnTo>
                  <a:lnTo>
                    <a:pt x="10" y="22"/>
                  </a:lnTo>
                  <a:lnTo>
                    <a:pt x="1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FF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grpSp>
          <p:nvGrpSpPr>
            <p:cNvPr id="387" name="Group 149"/>
            <p:cNvGrpSpPr>
              <a:grpSpLocks/>
            </p:cNvGrpSpPr>
            <p:nvPr/>
          </p:nvGrpSpPr>
          <p:grpSpPr bwMode="auto">
            <a:xfrm>
              <a:off x="791" y="1972"/>
              <a:ext cx="13" cy="28"/>
              <a:chOff x="791" y="1972"/>
              <a:chExt cx="13" cy="28"/>
            </a:xfrm>
          </p:grpSpPr>
          <p:grpSp>
            <p:nvGrpSpPr>
              <p:cNvPr id="389" name="Group 150"/>
              <p:cNvGrpSpPr>
                <a:grpSpLocks/>
              </p:cNvGrpSpPr>
              <p:nvPr/>
            </p:nvGrpSpPr>
            <p:grpSpPr bwMode="auto">
              <a:xfrm>
                <a:off x="791" y="1972"/>
                <a:ext cx="13" cy="28"/>
                <a:chOff x="791" y="1972"/>
                <a:chExt cx="13" cy="28"/>
              </a:xfrm>
            </p:grpSpPr>
            <p:sp>
              <p:nvSpPr>
                <p:cNvPr id="392" name="Line 151"/>
                <p:cNvSpPr>
                  <a:spLocks noChangeShapeType="1"/>
                </p:cNvSpPr>
                <p:nvPr/>
              </p:nvSpPr>
              <p:spPr bwMode="auto">
                <a:xfrm flipV="1">
                  <a:off x="791" y="1977"/>
                  <a:ext cx="2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393" name="Line 152"/>
                <p:cNvSpPr>
                  <a:spLocks noChangeShapeType="1"/>
                </p:cNvSpPr>
                <p:nvPr/>
              </p:nvSpPr>
              <p:spPr bwMode="auto">
                <a:xfrm>
                  <a:off x="793" y="1974"/>
                  <a:ext cx="0" cy="26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394" name="Line 153"/>
                <p:cNvSpPr>
                  <a:spLocks noChangeShapeType="1"/>
                </p:cNvSpPr>
                <p:nvPr/>
              </p:nvSpPr>
              <p:spPr bwMode="auto">
                <a:xfrm>
                  <a:off x="795" y="1974"/>
                  <a:ext cx="2" cy="26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395" name="Line 154"/>
                <p:cNvSpPr>
                  <a:spLocks noChangeShapeType="1"/>
                </p:cNvSpPr>
                <p:nvPr/>
              </p:nvSpPr>
              <p:spPr bwMode="auto">
                <a:xfrm>
                  <a:off x="797" y="1974"/>
                  <a:ext cx="0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396" name="Line 155"/>
                <p:cNvSpPr>
                  <a:spLocks noChangeShapeType="1"/>
                </p:cNvSpPr>
                <p:nvPr/>
              </p:nvSpPr>
              <p:spPr bwMode="auto">
                <a:xfrm>
                  <a:off x="798" y="1974"/>
                  <a:ext cx="0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397" name="Line 156"/>
                <p:cNvSpPr>
                  <a:spLocks noChangeShapeType="1"/>
                </p:cNvSpPr>
                <p:nvPr/>
              </p:nvSpPr>
              <p:spPr bwMode="auto">
                <a:xfrm>
                  <a:off x="798" y="1972"/>
                  <a:ext cx="2" cy="26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398" name="Line 157"/>
                <p:cNvSpPr>
                  <a:spLocks noChangeShapeType="1"/>
                </p:cNvSpPr>
                <p:nvPr/>
              </p:nvSpPr>
              <p:spPr bwMode="auto">
                <a:xfrm>
                  <a:off x="802" y="1972"/>
                  <a:ext cx="0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399" name="Line 158"/>
                <p:cNvSpPr>
                  <a:spLocks noChangeShapeType="1"/>
                </p:cNvSpPr>
                <p:nvPr/>
              </p:nvSpPr>
              <p:spPr bwMode="auto">
                <a:xfrm>
                  <a:off x="802" y="1972"/>
                  <a:ext cx="2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00" name="Line 159"/>
                <p:cNvSpPr>
                  <a:spLocks noChangeShapeType="1"/>
                </p:cNvSpPr>
                <p:nvPr/>
              </p:nvSpPr>
              <p:spPr bwMode="auto">
                <a:xfrm>
                  <a:off x="802" y="1972"/>
                  <a:ext cx="0" cy="21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</p:grpSp>
          <p:sp>
            <p:nvSpPr>
              <p:cNvPr id="390" name="Line 160"/>
              <p:cNvSpPr>
                <a:spLocks noChangeShapeType="1"/>
              </p:cNvSpPr>
              <p:nvPr/>
            </p:nvSpPr>
            <p:spPr bwMode="auto">
              <a:xfrm flipV="1">
                <a:off x="791" y="1974"/>
                <a:ext cx="9" cy="5"/>
              </a:xfrm>
              <a:prstGeom prst="line">
                <a:avLst/>
              </a:prstGeom>
              <a:noFill/>
              <a:ln w="1588">
                <a:solidFill>
                  <a:srgbClr val="A0A0A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91" name="Line 161"/>
              <p:cNvSpPr>
                <a:spLocks noChangeShapeType="1"/>
              </p:cNvSpPr>
              <p:nvPr/>
            </p:nvSpPr>
            <p:spPr bwMode="auto">
              <a:xfrm flipV="1">
                <a:off x="791" y="1993"/>
                <a:ext cx="9" cy="7"/>
              </a:xfrm>
              <a:prstGeom prst="line">
                <a:avLst/>
              </a:prstGeom>
              <a:noFill/>
              <a:ln w="1588">
                <a:solidFill>
                  <a:srgbClr val="A0A0A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388" name="Freeform 162"/>
            <p:cNvSpPr>
              <a:spLocks/>
            </p:cNvSpPr>
            <p:nvPr/>
          </p:nvSpPr>
          <p:spPr bwMode="auto">
            <a:xfrm>
              <a:off x="752" y="2279"/>
              <a:ext cx="9" cy="14"/>
            </a:xfrm>
            <a:custGeom>
              <a:avLst/>
              <a:gdLst>
                <a:gd name="T0" fmla="*/ 5 w 10"/>
                <a:gd name="T1" fmla="*/ 3 h 13"/>
                <a:gd name="T2" fmla="*/ 0 w 10"/>
                <a:gd name="T3" fmla="*/ 0 h 13"/>
                <a:gd name="T4" fmla="*/ 0 w 10"/>
                <a:gd name="T5" fmla="*/ 112 h 13"/>
                <a:gd name="T6" fmla="*/ 5 w 10"/>
                <a:gd name="T7" fmla="*/ 151 h 13"/>
                <a:gd name="T8" fmla="*/ 5 w 10"/>
                <a:gd name="T9" fmla="*/ 3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13"/>
                <a:gd name="T17" fmla="*/ 10 w 10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13">
                  <a:moveTo>
                    <a:pt x="10" y="3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10" y="13"/>
                  </a:lnTo>
                  <a:lnTo>
                    <a:pt x="10" y="3"/>
                  </a:lnTo>
                  <a:close/>
                </a:path>
              </a:pathLst>
            </a:custGeom>
            <a:solidFill>
              <a:srgbClr val="E0000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</p:grpSp>
      <p:sp>
        <p:nvSpPr>
          <p:cNvPr id="536" name="TextBox 94"/>
          <p:cNvSpPr txBox="1">
            <a:spLocks noChangeArrowheads="1"/>
          </p:cNvSpPr>
          <p:nvPr/>
        </p:nvSpPr>
        <p:spPr bwMode="auto">
          <a:xfrm>
            <a:off x="5387592" y="5559778"/>
            <a:ext cx="452629" cy="295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200" dirty="0"/>
              <a:t>Wi-Fi-AP</a:t>
            </a:r>
          </a:p>
        </p:txBody>
      </p:sp>
      <p:cxnSp>
        <p:nvCxnSpPr>
          <p:cNvPr id="537" name="Gerade Verbindung 536"/>
          <p:cNvCxnSpPr>
            <a:stCxn id="535" idx="2"/>
            <a:endCxn id="552" idx="2"/>
          </p:cNvCxnSpPr>
          <p:nvPr/>
        </p:nvCxnSpPr>
        <p:spPr bwMode="auto">
          <a:xfrm flipH="1">
            <a:off x="5098769" y="3271539"/>
            <a:ext cx="1191867" cy="1440531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38" name="Gerade Verbindung 537"/>
          <p:cNvCxnSpPr>
            <a:stCxn id="535" idx="1"/>
            <a:endCxn id="564" idx="3"/>
          </p:cNvCxnSpPr>
          <p:nvPr/>
        </p:nvCxnSpPr>
        <p:spPr bwMode="auto">
          <a:xfrm flipH="1" flipV="1">
            <a:off x="4532618" y="3228649"/>
            <a:ext cx="1716343" cy="1215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39" name="Gerade Verbindung 538"/>
          <p:cNvCxnSpPr>
            <a:stCxn id="540" idx="2"/>
            <a:endCxn id="535" idx="2"/>
          </p:cNvCxnSpPr>
          <p:nvPr/>
        </p:nvCxnSpPr>
        <p:spPr bwMode="auto">
          <a:xfrm flipV="1">
            <a:off x="5891778" y="3271539"/>
            <a:ext cx="398858" cy="2186688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sp>
        <p:nvSpPr>
          <p:cNvPr id="540" name="Rechteck 539"/>
          <p:cNvSpPr/>
          <p:nvPr/>
        </p:nvSpPr>
        <p:spPr>
          <a:xfrm>
            <a:off x="5850103" y="5374877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cxnSp>
        <p:nvCxnSpPr>
          <p:cNvPr id="541" name="Gerade Verbindung 540"/>
          <p:cNvCxnSpPr>
            <a:stCxn id="564" idx="1"/>
            <a:endCxn id="543" idx="2"/>
          </p:cNvCxnSpPr>
          <p:nvPr/>
        </p:nvCxnSpPr>
        <p:spPr bwMode="auto">
          <a:xfrm flipH="1" flipV="1">
            <a:off x="3065635" y="2409726"/>
            <a:ext cx="1383633" cy="818923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sp>
        <p:nvSpPr>
          <p:cNvPr id="542" name="Rechteck 541"/>
          <p:cNvSpPr/>
          <p:nvPr/>
        </p:nvSpPr>
        <p:spPr>
          <a:xfrm>
            <a:off x="1318703" y="2915860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3023960" y="2326376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pic>
        <p:nvPicPr>
          <p:cNvPr id="544" name="Picture 15" descr="C:\Users\master\Desktop\last\untitled.447.tif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986492" y="2153717"/>
            <a:ext cx="146643" cy="195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5" name="Gerade Verbindung 544"/>
          <p:cNvCxnSpPr>
            <a:stCxn id="542" idx="3"/>
            <a:endCxn id="543" idx="2"/>
          </p:cNvCxnSpPr>
          <p:nvPr/>
        </p:nvCxnSpPr>
        <p:spPr bwMode="auto">
          <a:xfrm flipV="1">
            <a:off x="1402053" y="2409726"/>
            <a:ext cx="1663582" cy="547809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46" name="Gerade Verbindung 545"/>
          <p:cNvCxnSpPr>
            <a:stCxn id="548" idx="3"/>
            <a:endCxn id="543" idx="2"/>
          </p:cNvCxnSpPr>
          <p:nvPr/>
        </p:nvCxnSpPr>
        <p:spPr bwMode="auto">
          <a:xfrm flipV="1">
            <a:off x="2225608" y="2409726"/>
            <a:ext cx="840027" cy="2202181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47" name="Gerade Verbindung 546"/>
          <p:cNvCxnSpPr>
            <a:stCxn id="542" idx="3"/>
            <a:endCxn id="548" idx="2"/>
          </p:cNvCxnSpPr>
          <p:nvPr/>
        </p:nvCxnSpPr>
        <p:spPr bwMode="auto">
          <a:xfrm>
            <a:off x="1402053" y="2957535"/>
            <a:ext cx="781880" cy="1696047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sp>
        <p:nvSpPr>
          <p:cNvPr id="548" name="Rechteck 547"/>
          <p:cNvSpPr/>
          <p:nvPr/>
        </p:nvSpPr>
        <p:spPr>
          <a:xfrm>
            <a:off x="2142258" y="4570232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cxnSp>
        <p:nvCxnSpPr>
          <p:cNvPr id="549" name="Gerade Verbindung 548"/>
          <p:cNvCxnSpPr>
            <a:stCxn id="548" idx="3"/>
            <a:endCxn id="186" idx="1"/>
          </p:cNvCxnSpPr>
          <p:nvPr/>
        </p:nvCxnSpPr>
        <p:spPr bwMode="auto">
          <a:xfrm>
            <a:off x="2225608" y="4611907"/>
            <a:ext cx="1383143" cy="3488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50" name="Gerade Verbindung 549"/>
          <p:cNvCxnSpPr>
            <a:stCxn id="186" idx="3"/>
            <a:endCxn id="564" idx="1"/>
          </p:cNvCxnSpPr>
          <p:nvPr/>
        </p:nvCxnSpPr>
        <p:spPr bwMode="auto">
          <a:xfrm flipV="1">
            <a:off x="3692101" y="3228649"/>
            <a:ext cx="757167" cy="1386746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51" name="Gerade Verbindung 550"/>
          <p:cNvCxnSpPr>
            <a:stCxn id="191" idx="0"/>
            <a:endCxn id="564" idx="3"/>
          </p:cNvCxnSpPr>
          <p:nvPr/>
        </p:nvCxnSpPr>
        <p:spPr bwMode="auto">
          <a:xfrm flipH="1" flipV="1">
            <a:off x="4532618" y="3228649"/>
            <a:ext cx="559711" cy="1487008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sp>
        <p:nvSpPr>
          <p:cNvPr id="552" name="Rechteck 551"/>
          <p:cNvSpPr/>
          <p:nvPr/>
        </p:nvSpPr>
        <p:spPr>
          <a:xfrm>
            <a:off x="5057094" y="4628720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pic>
        <p:nvPicPr>
          <p:cNvPr id="553" name="Picture 15" descr="C:\Users\master\Desktop\last\untitled.447.tif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021132" y="4487415"/>
            <a:ext cx="146643" cy="195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54" name="Gerade Verbindung 553"/>
          <p:cNvCxnSpPr>
            <a:stCxn id="540" idx="1"/>
            <a:endCxn id="191" idx="0"/>
          </p:cNvCxnSpPr>
          <p:nvPr/>
        </p:nvCxnSpPr>
        <p:spPr bwMode="auto">
          <a:xfrm flipH="1" flipV="1">
            <a:off x="5092329" y="4715657"/>
            <a:ext cx="757774" cy="700895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55" name="Gerade Verbindung 554"/>
          <p:cNvCxnSpPr>
            <a:stCxn id="552" idx="1"/>
            <a:endCxn id="186" idx="3"/>
          </p:cNvCxnSpPr>
          <p:nvPr/>
        </p:nvCxnSpPr>
        <p:spPr bwMode="auto">
          <a:xfrm flipH="1" flipV="1">
            <a:off x="3692101" y="4615395"/>
            <a:ext cx="1364993" cy="55000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pic>
        <p:nvPicPr>
          <p:cNvPr id="556" name="Grafik 555"/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100000">
            <a:off x="5891085" y="5178556"/>
            <a:ext cx="320043" cy="323743"/>
          </a:xfrm>
          <a:prstGeom prst="rect">
            <a:avLst/>
          </a:prstGeom>
        </p:spPr>
      </p:pic>
      <p:pic>
        <p:nvPicPr>
          <p:cNvPr id="557" name="Grafik 556"/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00000">
            <a:off x="5571207" y="5186698"/>
            <a:ext cx="320043" cy="323743"/>
          </a:xfrm>
          <a:prstGeom prst="rect">
            <a:avLst/>
          </a:prstGeom>
        </p:spPr>
      </p:pic>
      <p:pic>
        <p:nvPicPr>
          <p:cNvPr id="558" name="Grafik 557"/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100000">
            <a:off x="1364776" y="2721426"/>
            <a:ext cx="320043" cy="323743"/>
          </a:xfrm>
          <a:prstGeom prst="rect">
            <a:avLst/>
          </a:prstGeom>
        </p:spPr>
      </p:pic>
      <p:pic>
        <p:nvPicPr>
          <p:cNvPr id="559" name="Grafik 558"/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00000">
            <a:off x="1044898" y="2729568"/>
            <a:ext cx="320043" cy="323743"/>
          </a:xfrm>
          <a:prstGeom prst="rect">
            <a:avLst/>
          </a:prstGeom>
        </p:spPr>
      </p:pic>
      <p:sp>
        <p:nvSpPr>
          <p:cNvPr id="560" name="Abgerundete rechteckige Legende 559"/>
          <p:cNvSpPr/>
          <p:nvPr/>
        </p:nvSpPr>
        <p:spPr>
          <a:xfrm>
            <a:off x="2774995" y="5777706"/>
            <a:ext cx="694547" cy="413739"/>
          </a:xfrm>
          <a:prstGeom prst="wedgeRoundRectCallout">
            <a:avLst>
              <a:gd name="adj1" fmla="val -70692"/>
              <a:gd name="adj2" fmla="val -67664"/>
              <a:gd name="adj3" fmla="val 16667"/>
            </a:avLst>
          </a:prstGeom>
          <a:solidFill>
            <a:schemeClr val="bg2">
              <a:lumMod val="20000"/>
              <a:lumOff val="80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" tIns="18000" rIns="0" bIns="18000" rtlCol="0" anchor="t"/>
          <a:lstStyle/>
          <a:p>
            <a:pPr algn="ctr">
              <a:lnSpc>
                <a:spcPct val="80000"/>
              </a:lnSpc>
            </a:pPr>
            <a:r>
              <a:rPr lang="en-GB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: Wireless </a:t>
            </a:r>
            <a:r>
              <a:rPr lang="en-GB" sz="10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house</a:t>
            </a:r>
            <a:endParaRPr lang="en-GB" sz="10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1" name="Textfeld 6"/>
          <p:cNvSpPr txBox="1">
            <a:spLocks noChangeArrowheads="1"/>
          </p:cNvSpPr>
          <p:nvPr/>
        </p:nvSpPr>
        <p:spPr bwMode="auto">
          <a:xfrm rot="18901557">
            <a:off x="2916146" y="4898926"/>
            <a:ext cx="507860" cy="153286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eaLnBrk="0" hangingPunct="0"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  <a:lvl2pPr marL="1588" lvl="1" indent="0" algn="ctr" eaLnBrk="0" hangingPunct="0">
              <a:lnSpc>
                <a:spcPct val="80000"/>
              </a:lnSpc>
              <a:spcBef>
                <a:spcPts val="0"/>
              </a:spcBef>
              <a:buClr>
                <a:srgbClr val="E20074"/>
              </a:buClr>
              <a:defRPr sz="1000">
                <a:solidFill>
                  <a:srgbClr val="C00000"/>
                </a:solidFill>
              </a:defRPr>
            </a:lvl2pPr>
            <a:lvl3pPr marL="179388" lvl="2" indent="-176213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3pPr>
            <a:lvl4pPr marL="352425" lvl="3" indent="-171450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4pPr>
            <a:lvl5pPr marL="538163" indent="-18415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850" lvl="1" defTabSz="503486">
              <a:defRPr/>
            </a:pPr>
            <a:r>
              <a:rPr lang="en-GB" altLang="en-US" sz="1100" kern="0" dirty="0" smtClean="0">
                <a:solidFill>
                  <a:srgbClr val="427B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TTB</a:t>
            </a:r>
            <a:endParaRPr lang="en-GB" altLang="en-US" sz="1100" kern="0" dirty="0">
              <a:solidFill>
                <a:srgbClr val="427BB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2" name="Abgerundetes Rechteck 1049"/>
          <p:cNvSpPr/>
          <p:nvPr/>
        </p:nvSpPr>
        <p:spPr>
          <a:xfrm>
            <a:off x="4283968" y="5727176"/>
            <a:ext cx="321245" cy="144020"/>
          </a:xfrm>
          <a:prstGeom prst="roundRect">
            <a:avLst/>
          </a:prstGeom>
          <a:solidFill>
            <a:srgbClr val="FFFFFF"/>
          </a:solidFill>
          <a:ln w="6350">
            <a:solidFill>
              <a:srgbClr val="000000"/>
            </a:solidFill>
          </a:ln>
        </p:spPr>
        <p:txBody>
          <a:bodyPr vert="horz" wrap="none" lIns="0" tIns="0" rIns="0" bIns="0" rtlCol="0" anchor="ctr" upright="1">
            <a:noAutofit/>
          </a:bodyPr>
          <a:lstStyle/>
          <a:p>
            <a:pPr algn="ctr" defTabSz="912644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</a:pPr>
            <a:r>
              <a:rPr lang="de-DE" sz="9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W</a:t>
            </a:r>
          </a:p>
        </p:txBody>
      </p:sp>
      <p:sp>
        <p:nvSpPr>
          <p:cNvPr id="563" name="Textfeld 6"/>
          <p:cNvSpPr txBox="1">
            <a:spLocks noChangeArrowheads="1"/>
          </p:cNvSpPr>
          <p:nvPr/>
        </p:nvSpPr>
        <p:spPr bwMode="auto">
          <a:xfrm>
            <a:off x="6516215" y="4310756"/>
            <a:ext cx="2255347" cy="20705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000" tIns="36000" rIns="0" bIns="3600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eaLnBrk="0" hangingPunct="0"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  <a:lvl2pPr marL="1588" lvl="1" indent="0" algn="ctr" eaLnBrk="0" hangingPunct="0">
              <a:lnSpc>
                <a:spcPct val="80000"/>
              </a:lnSpc>
              <a:spcBef>
                <a:spcPts val="0"/>
              </a:spcBef>
              <a:buClr>
                <a:srgbClr val="E20074"/>
              </a:buClr>
              <a:defRPr sz="1000">
                <a:solidFill>
                  <a:srgbClr val="C00000"/>
                </a:solidFill>
              </a:defRPr>
            </a:lvl2pPr>
            <a:lvl3pPr marL="179388" lvl="2" indent="-176213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3pPr>
            <a:lvl4pPr marL="352425" lvl="3" indent="-171450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4pPr>
            <a:lvl5pPr marL="538163" indent="-18415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850" lvl="1" algn="just" defTabSz="503486">
              <a:lnSpc>
                <a:spcPct val="90000"/>
              </a:lnSpc>
              <a:defRPr/>
            </a:pPr>
            <a:r>
              <a:rPr lang="en-GB" altLang="en-US" sz="1100" b="1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mWave</a:t>
            </a:r>
            <a:r>
              <a:rPr lang="en-GB" altLang="en-US" sz="11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stribution Network</a:t>
            </a:r>
          </a:p>
          <a:p>
            <a:pPr marL="144463" lvl="1" indent="-142875" algn="l" defTabSz="503486">
              <a:lnSpc>
                <a:spcPct val="100000"/>
              </a:lnSpc>
              <a:buClrTx/>
              <a:buFont typeface="Arial" panose="020B0604020202020204" pitchFamily="34" charset="0"/>
              <a:buChar char="•"/>
              <a:defRPr/>
            </a:pP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 60 GHz narrow beam system </a:t>
            </a:r>
          </a:p>
          <a:p>
            <a:pPr marL="144463" lvl="1" indent="-142875" algn="l" defTabSz="503486">
              <a:lnSpc>
                <a:spcPct val="100000"/>
              </a:lnSpc>
              <a:buClrTx/>
              <a:buFont typeface="Arial" panose="020B0604020202020204" pitchFamily="34" charset="0"/>
              <a:buChar char="•"/>
              <a:defRPr/>
            </a:pP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wn management and control per </a:t>
            </a:r>
            <a:r>
              <a:rPr lang="en-GB" altLang="en-US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mWave</a:t>
            </a: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reless access area</a:t>
            </a:r>
          </a:p>
          <a:p>
            <a:pPr marL="144463" lvl="1" indent="-142875" algn="l" defTabSz="503486">
              <a:lnSpc>
                <a:spcPct val="100000"/>
              </a:lnSpc>
              <a:buClrTx/>
              <a:buFont typeface="Arial" panose="020B0604020202020204" pitchFamily="34" charset="0"/>
              <a:buChar char="•"/>
              <a:defRPr/>
            </a:pP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te </a:t>
            </a:r>
            <a:r>
              <a:rPr lang="en-GB" altLang="en-US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 protocol </a:t>
            </a: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s re-routing over </a:t>
            </a:r>
            <a:r>
              <a:rPr lang="en-GB" altLang="en-US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dio </a:t>
            </a: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s </a:t>
            </a:r>
          </a:p>
          <a:p>
            <a:pPr marL="144463" lvl="1" indent="-142875" algn="l" defTabSz="503486">
              <a:lnSpc>
                <a:spcPct val="100000"/>
              </a:lnSpc>
              <a:buClrTx/>
              <a:buFont typeface="Arial" panose="020B0604020202020204" pitchFamily="34" charset="0"/>
              <a:buChar char="•"/>
              <a:defRPr/>
            </a:pP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-alignment installations via adaptive beamforming</a:t>
            </a:r>
          </a:p>
          <a:p>
            <a:pPr marL="144463" lvl="1" indent="-142875" algn="l" defTabSz="503486">
              <a:lnSpc>
                <a:spcPct val="100000"/>
              </a:lnSpc>
              <a:buClrTx/>
              <a:buFont typeface="Arial" panose="020B0604020202020204" pitchFamily="34" charset="0"/>
              <a:buChar char="•"/>
              <a:defRPr/>
            </a:pP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ndancy </a:t>
            </a:r>
            <a:r>
              <a:rPr lang="en-GB" altLang="en-US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active equipment at “first” pole next to </a:t>
            </a:r>
            <a:r>
              <a:rPr lang="en-GB" altLang="en-US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ber</a:t>
            </a: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en-US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P</a:t>
            </a: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r via connections to 2 or more </a:t>
            </a:r>
            <a:r>
              <a:rPr lang="en-GB" altLang="en-US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ber</a:t>
            </a: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en-US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Ps</a:t>
            </a:r>
            <a:endParaRPr lang="en-GB" altLang="en-US" kern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463" lvl="1" indent="-142875" algn="l" defTabSz="503486">
              <a:lnSpc>
                <a:spcPct val="100000"/>
              </a:lnSpc>
              <a:buClrTx/>
              <a:buFont typeface="Arial" panose="020B0604020202020204" pitchFamily="34" charset="0"/>
              <a:buChar char="•"/>
              <a:defRPr/>
            </a:pP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dio link degradation and outage recognition w/ failure localisation</a:t>
            </a:r>
            <a:endParaRPr lang="en-GB" altLang="en-US" sz="1100" kern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4" name="Rechteck 563"/>
          <p:cNvSpPr/>
          <p:nvPr/>
        </p:nvSpPr>
        <p:spPr>
          <a:xfrm>
            <a:off x="4449268" y="3186974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sp>
        <p:nvSpPr>
          <p:cNvPr id="567" name="Rectangle 162"/>
          <p:cNvSpPr>
            <a:spLocks noChangeArrowheads="1"/>
          </p:cNvSpPr>
          <p:nvPr/>
        </p:nvSpPr>
        <p:spPr bwMode="auto">
          <a:xfrm>
            <a:off x="5292081" y="4742257"/>
            <a:ext cx="993520" cy="368750"/>
          </a:xfrm>
          <a:prstGeom prst="rect">
            <a:avLst/>
          </a:prstGeom>
          <a:solidFill>
            <a:srgbClr val="FFD5AB"/>
          </a:solidFill>
          <a:ln>
            <a:noFill/>
          </a:ln>
          <a:extLst/>
        </p:spPr>
        <p:txBody>
          <a:bodyPr wrap="square" lIns="0" tIns="18000" rIns="0" bIns="18000">
            <a:spAutoFit/>
          </a:bodyPr>
          <a:lstStyle/>
          <a:p>
            <a:pPr algn="ctr" eaLnBrk="1" hangingPunct="1">
              <a:lnSpc>
                <a:spcPct val="90000"/>
              </a:lnSpc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200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Use case c) </a:t>
            </a:r>
            <a:r>
              <a:rPr lang="en-US" altLang="de-DE" sz="1200" b="1" dirty="0" err="1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WiFi</a:t>
            </a:r>
            <a:r>
              <a:rPr lang="en-US" altLang="de-DE" sz="1200" b="1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AP / SC</a:t>
            </a:r>
            <a:endParaRPr lang="en-US" altLang="de-DE" sz="1200" b="1" dirty="0">
              <a:solidFill>
                <a:srgbClr val="000000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317" name="TextBox 94"/>
          <p:cNvSpPr txBox="1">
            <a:spLocks noChangeArrowheads="1"/>
          </p:cNvSpPr>
          <p:nvPr/>
        </p:nvSpPr>
        <p:spPr bwMode="auto">
          <a:xfrm>
            <a:off x="6378983" y="3352967"/>
            <a:ext cx="637168" cy="152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100" dirty="0" smtClean="0">
                <a:solidFill>
                  <a:srgbClr val="FF0000"/>
                </a:solidFill>
              </a:rPr>
              <a:t>fiber</a:t>
            </a:r>
            <a:endParaRPr lang="en-US" altLang="de-DE" sz="1100" dirty="0">
              <a:solidFill>
                <a:srgbClr val="FF0000"/>
              </a:solidFill>
            </a:endParaRPr>
          </a:p>
        </p:txBody>
      </p:sp>
      <p:sp>
        <p:nvSpPr>
          <p:cNvPr id="319" name="Freeform 11"/>
          <p:cNvSpPr>
            <a:spLocks/>
          </p:cNvSpPr>
          <p:nvPr/>
        </p:nvSpPr>
        <p:spPr bwMode="auto">
          <a:xfrm>
            <a:off x="7956376" y="1954932"/>
            <a:ext cx="815187" cy="1916200"/>
          </a:xfrm>
          <a:custGeom>
            <a:avLst/>
            <a:gdLst>
              <a:gd name="T0" fmla="*/ 596 w 6580"/>
              <a:gd name="T1" fmla="*/ 1330 h 4000"/>
              <a:gd name="T2" fmla="*/ 0 w 6580"/>
              <a:gd name="T3" fmla="*/ 1877 h 4000"/>
              <a:gd name="T4" fmla="*/ 328 w 6580"/>
              <a:gd name="T5" fmla="*/ 2353 h 4000"/>
              <a:gd name="T6" fmla="*/ 325 w 6580"/>
              <a:gd name="T7" fmla="*/ 2346 h 4000"/>
              <a:gd name="T8" fmla="*/ 146 w 6580"/>
              <a:gd name="T9" fmla="*/ 2721 h 4000"/>
              <a:gd name="T10" fmla="*/ 811 w 6580"/>
              <a:gd name="T11" fmla="*/ 3269 h 4000"/>
              <a:gd name="T12" fmla="*/ 888 w 6580"/>
              <a:gd name="T13" fmla="*/ 3265 h 4000"/>
              <a:gd name="T14" fmla="*/ 884 w 6580"/>
              <a:gd name="T15" fmla="*/ 3269 h 4000"/>
              <a:gd name="T16" fmla="*/ 1905 w 6580"/>
              <a:gd name="T17" fmla="*/ 3759 h 4000"/>
              <a:gd name="T18" fmla="*/ 2510 w 6580"/>
              <a:gd name="T19" fmla="*/ 3620 h 4000"/>
              <a:gd name="T20" fmla="*/ 2508 w 6580"/>
              <a:gd name="T21" fmla="*/ 3621 h 4000"/>
              <a:gd name="T22" fmla="*/ 3363 w 6580"/>
              <a:gd name="T23" fmla="*/ 4000 h 4000"/>
              <a:gd name="T24" fmla="*/ 4347 w 6580"/>
              <a:gd name="T25" fmla="*/ 3393 h 4000"/>
              <a:gd name="T26" fmla="*/ 4349 w 6580"/>
              <a:gd name="T27" fmla="*/ 3398 h 4000"/>
              <a:gd name="T28" fmla="*/ 4815 w 6580"/>
              <a:gd name="T29" fmla="*/ 3508 h 4000"/>
              <a:gd name="T30" fmla="*/ 5696 w 6580"/>
              <a:gd name="T31" fmla="*/ 2786 h 4000"/>
              <a:gd name="T32" fmla="*/ 5695 w 6580"/>
              <a:gd name="T33" fmla="*/ 2785 h 4000"/>
              <a:gd name="T34" fmla="*/ 6580 w 6580"/>
              <a:gd name="T35" fmla="*/ 1940 h 4000"/>
              <a:gd name="T36" fmla="*/ 6367 w 6580"/>
              <a:gd name="T37" fmla="*/ 1419 h 4000"/>
              <a:gd name="T38" fmla="*/ 6364 w 6580"/>
              <a:gd name="T39" fmla="*/ 1419 h 4000"/>
              <a:gd name="T40" fmla="*/ 6431 w 6580"/>
              <a:gd name="T41" fmla="*/ 1154 h 4000"/>
              <a:gd name="T42" fmla="*/ 5832 w 6580"/>
              <a:gd name="T43" fmla="*/ 504 h 4000"/>
              <a:gd name="T44" fmla="*/ 5835 w 6580"/>
              <a:gd name="T45" fmla="*/ 503 h 4000"/>
              <a:gd name="T46" fmla="*/ 5107 w 6580"/>
              <a:gd name="T47" fmla="*/ 0 h 4000"/>
              <a:gd name="T48" fmla="*/ 4541 w 6580"/>
              <a:gd name="T49" fmla="*/ 216 h 4000"/>
              <a:gd name="T50" fmla="*/ 4542 w 6580"/>
              <a:gd name="T51" fmla="*/ 217 h 4000"/>
              <a:gd name="T52" fmla="*/ 4015 w 6580"/>
              <a:gd name="T53" fmla="*/ 0 h 4000"/>
              <a:gd name="T54" fmla="*/ 3419 w 6580"/>
              <a:gd name="T55" fmla="*/ 305 h 4000"/>
              <a:gd name="T56" fmla="*/ 3422 w 6580"/>
              <a:gd name="T57" fmla="*/ 314 h 4000"/>
              <a:gd name="T58" fmla="*/ 2853 w 6580"/>
              <a:gd name="T59" fmla="*/ 121 h 4000"/>
              <a:gd name="T60" fmla="*/ 2135 w 6580"/>
              <a:gd name="T61" fmla="*/ 478 h 4000"/>
              <a:gd name="T62" fmla="*/ 2132 w 6580"/>
              <a:gd name="T63" fmla="*/ 483 h 4000"/>
              <a:gd name="T64" fmla="*/ 1612 w 6580"/>
              <a:gd name="T65" fmla="*/ 367 h 4000"/>
              <a:gd name="T66" fmla="*/ 583 w 6580"/>
              <a:gd name="T67" fmla="*/ 1217 h 4000"/>
              <a:gd name="T68" fmla="*/ 593 w 6580"/>
              <a:gd name="T69" fmla="*/ 1330 h 4000"/>
              <a:gd name="T70" fmla="*/ 596 w 6580"/>
              <a:gd name="T71" fmla="*/ 1330 h 4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580" h="4000">
                <a:moveTo>
                  <a:pt x="596" y="1330"/>
                </a:moveTo>
                <a:cubicBezTo>
                  <a:pt x="257" y="1359"/>
                  <a:pt x="0" y="1596"/>
                  <a:pt x="0" y="1877"/>
                </a:cubicBezTo>
                <a:cubicBezTo>
                  <a:pt x="0" y="2072"/>
                  <a:pt x="125" y="2254"/>
                  <a:pt x="328" y="2353"/>
                </a:cubicBezTo>
                <a:lnTo>
                  <a:pt x="325" y="2346"/>
                </a:lnTo>
                <a:cubicBezTo>
                  <a:pt x="209" y="2448"/>
                  <a:pt x="146" y="2582"/>
                  <a:pt x="146" y="2721"/>
                </a:cubicBezTo>
                <a:cubicBezTo>
                  <a:pt x="146" y="3024"/>
                  <a:pt x="443" y="3269"/>
                  <a:pt x="811" y="3269"/>
                </a:cubicBezTo>
                <a:cubicBezTo>
                  <a:pt x="835" y="3269"/>
                  <a:pt x="862" y="3267"/>
                  <a:pt x="888" y="3265"/>
                </a:cubicBezTo>
                <a:lnTo>
                  <a:pt x="884" y="3269"/>
                </a:lnTo>
                <a:cubicBezTo>
                  <a:pt x="1094" y="3571"/>
                  <a:pt x="1482" y="3759"/>
                  <a:pt x="1905" y="3759"/>
                </a:cubicBezTo>
                <a:cubicBezTo>
                  <a:pt x="2118" y="3759"/>
                  <a:pt x="2327" y="3711"/>
                  <a:pt x="2510" y="3620"/>
                </a:cubicBezTo>
                <a:lnTo>
                  <a:pt x="2508" y="3621"/>
                </a:lnTo>
                <a:cubicBezTo>
                  <a:pt x="2698" y="3857"/>
                  <a:pt x="3019" y="4000"/>
                  <a:pt x="3363" y="4000"/>
                </a:cubicBezTo>
                <a:cubicBezTo>
                  <a:pt x="3816" y="4000"/>
                  <a:pt x="4216" y="3754"/>
                  <a:pt x="4347" y="3393"/>
                </a:cubicBezTo>
                <a:lnTo>
                  <a:pt x="4349" y="3398"/>
                </a:lnTo>
                <a:cubicBezTo>
                  <a:pt x="4488" y="3471"/>
                  <a:pt x="4650" y="3508"/>
                  <a:pt x="4815" y="3508"/>
                </a:cubicBezTo>
                <a:cubicBezTo>
                  <a:pt x="5299" y="3508"/>
                  <a:pt x="5692" y="3186"/>
                  <a:pt x="5696" y="2786"/>
                </a:cubicBezTo>
                <a:lnTo>
                  <a:pt x="5695" y="2785"/>
                </a:lnTo>
                <a:cubicBezTo>
                  <a:pt x="6202" y="2725"/>
                  <a:pt x="6580" y="2365"/>
                  <a:pt x="6580" y="1940"/>
                </a:cubicBezTo>
                <a:cubicBezTo>
                  <a:pt x="6580" y="1751"/>
                  <a:pt x="6505" y="1569"/>
                  <a:pt x="6367" y="1419"/>
                </a:cubicBezTo>
                <a:lnTo>
                  <a:pt x="6364" y="1419"/>
                </a:lnTo>
                <a:cubicBezTo>
                  <a:pt x="6408" y="1334"/>
                  <a:pt x="6431" y="1245"/>
                  <a:pt x="6431" y="1154"/>
                </a:cubicBezTo>
                <a:cubicBezTo>
                  <a:pt x="6431" y="849"/>
                  <a:pt x="6185" y="583"/>
                  <a:pt x="5832" y="504"/>
                </a:cubicBezTo>
                <a:lnTo>
                  <a:pt x="5835" y="503"/>
                </a:lnTo>
                <a:cubicBezTo>
                  <a:pt x="5771" y="212"/>
                  <a:pt x="5464" y="0"/>
                  <a:pt x="5107" y="0"/>
                </a:cubicBezTo>
                <a:cubicBezTo>
                  <a:pt x="4889" y="0"/>
                  <a:pt x="4683" y="79"/>
                  <a:pt x="4541" y="216"/>
                </a:cubicBezTo>
                <a:lnTo>
                  <a:pt x="4542" y="217"/>
                </a:lnTo>
                <a:cubicBezTo>
                  <a:pt x="4417" y="81"/>
                  <a:pt x="4222" y="0"/>
                  <a:pt x="4015" y="0"/>
                </a:cubicBezTo>
                <a:cubicBezTo>
                  <a:pt x="3763" y="0"/>
                  <a:pt x="3532" y="118"/>
                  <a:pt x="3419" y="305"/>
                </a:cubicBezTo>
                <a:lnTo>
                  <a:pt x="3422" y="314"/>
                </a:lnTo>
                <a:cubicBezTo>
                  <a:pt x="3269" y="190"/>
                  <a:pt x="3066" y="121"/>
                  <a:pt x="2853" y="121"/>
                </a:cubicBezTo>
                <a:cubicBezTo>
                  <a:pt x="2552" y="121"/>
                  <a:pt x="2275" y="258"/>
                  <a:pt x="2135" y="478"/>
                </a:cubicBezTo>
                <a:lnTo>
                  <a:pt x="2132" y="483"/>
                </a:lnTo>
                <a:cubicBezTo>
                  <a:pt x="1974" y="407"/>
                  <a:pt x="1796" y="367"/>
                  <a:pt x="1612" y="367"/>
                </a:cubicBezTo>
                <a:cubicBezTo>
                  <a:pt x="1044" y="367"/>
                  <a:pt x="583" y="746"/>
                  <a:pt x="583" y="1217"/>
                </a:cubicBezTo>
                <a:cubicBezTo>
                  <a:pt x="583" y="1254"/>
                  <a:pt x="586" y="1293"/>
                  <a:pt x="593" y="1330"/>
                </a:cubicBezTo>
                <a:lnTo>
                  <a:pt x="596" y="13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4763" cap="rnd">
            <a:solidFill>
              <a:srgbClr val="000000"/>
            </a:solidFill>
            <a:prstDash val="solid"/>
            <a:round/>
            <a:headEnd/>
            <a:tailEnd/>
          </a:ln>
          <a:extLst/>
        </p:spPr>
        <p:txBody>
          <a:bodyPr lIns="36000" tIns="36000" rIns="36000" bIns="36000" anchor="ctr"/>
          <a:lstStyle/>
          <a:p>
            <a:pPr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sz="1400" kern="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r</a:t>
            </a:r>
          </a:p>
          <a:p>
            <a:pPr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sz="1400" kern="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rk</a:t>
            </a:r>
            <a:endParaRPr lang="en-US" sz="1400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8001879" y="3997841"/>
            <a:ext cx="106679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sp>
        <p:nvSpPr>
          <p:cNvPr id="323" name="TextBox 94"/>
          <p:cNvSpPr txBox="1">
            <a:spLocks noChangeArrowheads="1"/>
          </p:cNvSpPr>
          <p:nvPr/>
        </p:nvSpPr>
        <p:spPr bwMode="auto">
          <a:xfrm>
            <a:off x="8145896" y="3933056"/>
            <a:ext cx="92162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100" dirty="0" smtClean="0">
                <a:latin typeface="Tele-GroteskNor" pitchFamily="2" charset="0"/>
              </a:rPr>
              <a:t>mmWave AP</a:t>
            </a:r>
          </a:p>
          <a:p>
            <a:pPr eaLnBrk="1" hangingPunct="1"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100" dirty="0" smtClean="0">
                <a:latin typeface="Tele-GroteskNor" pitchFamily="2" charset="0"/>
              </a:rPr>
              <a:t>mmWave link</a:t>
            </a:r>
            <a:endParaRPr lang="en-US" altLang="de-DE" sz="1100" dirty="0">
              <a:latin typeface="Tele-GroteskNor" pitchFamily="2" charset="0"/>
            </a:endParaRPr>
          </a:p>
        </p:txBody>
      </p:sp>
      <p:cxnSp>
        <p:nvCxnSpPr>
          <p:cNvPr id="326" name="Gerade Verbindung 325"/>
          <p:cNvCxnSpPr/>
          <p:nvPr/>
        </p:nvCxnSpPr>
        <p:spPr bwMode="auto">
          <a:xfrm>
            <a:off x="7949176" y="4191832"/>
            <a:ext cx="180772" cy="1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sp>
        <p:nvSpPr>
          <p:cNvPr id="327" name="TextBox 94"/>
          <p:cNvSpPr txBox="1">
            <a:spLocks noChangeArrowheads="1"/>
          </p:cNvSpPr>
          <p:nvPr/>
        </p:nvSpPr>
        <p:spPr bwMode="auto">
          <a:xfrm>
            <a:off x="167712" y="3271088"/>
            <a:ext cx="714716" cy="3323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80000"/>
              </a:lnSpc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100" dirty="0" smtClean="0"/>
              <a:t>Fiber PoP </a:t>
            </a:r>
            <a:r>
              <a:rPr lang="en-US" altLang="de-DE" sz="800" dirty="0" smtClean="0"/>
              <a:t>(to Provider Network)</a:t>
            </a:r>
            <a:endParaRPr lang="en-US" altLang="de-DE" sz="800" dirty="0"/>
          </a:p>
        </p:txBody>
      </p:sp>
      <p:cxnSp>
        <p:nvCxnSpPr>
          <p:cNvPr id="3" name="Gewinkelte Verbindung 2"/>
          <p:cNvCxnSpPr>
            <a:stCxn id="334" idx="1"/>
            <a:endCxn id="175" idx="2"/>
          </p:cNvCxnSpPr>
          <p:nvPr/>
        </p:nvCxnSpPr>
        <p:spPr bwMode="auto">
          <a:xfrm flipV="1">
            <a:off x="927256" y="3190485"/>
            <a:ext cx="435205" cy="309914"/>
          </a:xfrm>
          <a:prstGeom prst="bentConnector2">
            <a:avLst/>
          </a:prstGeom>
          <a:solidFill>
            <a:srgbClr val="00B8FF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329" name="Group 5"/>
          <p:cNvGrpSpPr>
            <a:grpSpLocks/>
          </p:cNvGrpSpPr>
          <p:nvPr/>
        </p:nvGrpSpPr>
        <p:grpSpPr bwMode="auto">
          <a:xfrm>
            <a:off x="927256" y="3293215"/>
            <a:ext cx="201612" cy="265113"/>
            <a:chOff x="632" y="1958"/>
            <a:chExt cx="220" cy="389"/>
          </a:xfrm>
        </p:grpSpPr>
        <p:sp>
          <p:nvSpPr>
            <p:cNvPr id="330" name="Freeform 6"/>
            <p:cNvSpPr>
              <a:spLocks/>
            </p:cNvSpPr>
            <p:nvPr/>
          </p:nvSpPr>
          <p:spPr bwMode="auto">
            <a:xfrm>
              <a:off x="778" y="1958"/>
              <a:ext cx="74" cy="389"/>
            </a:xfrm>
            <a:custGeom>
              <a:avLst/>
              <a:gdLst>
                <a:gd name="T0" fmla="*/ 0 w 74"/>
                <a:gd name="T1" fmla="*/ 17 h 388"/>
                <a:gd name="T2" fmla="*/ 74 w 74"/>
                <a:gd name="T3" fmla="*/ 0 h 388"/>
                <a:gd name="T4" fmla="*/ 74 w 74"/>
                <a:gd name="T5" fmla="*/ 351 h 388"/>
                <a:gd name="T6" fmla="*/ 0 w 74"/>
                <a:gd name="T7" fmla="*/ 422 h 388"/>
                <a:gd name="T8" fmla="*/ 0 w 74"/>
                <a:gd name="T9" fmla="*/ 17 h 38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388"/>
                <a:gd name="T17" fmla="*/ 74 w 74"/>
                <a:gd name="T18" fmla="*/ 388 h 38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388">
                  <a:moveTo>
                    <a:pt x="0" y="17"/>
                  </a:moveTo>
                  <a:lnTo>
                    <a:pt x="74" y="0"/>
                  </a:lnTo>
                  <a:lnTo>
                    <a:pt x="74" y="317"/>
                  </a:lnTo>
                  <a:lnTo>
                    <a:pt x="0" y="388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A0A0A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sp>
          <p:nvSpPr>
            <p:cNvPr id="333" name="Freeform 7"/>
            <p:cNvSpPr>
              <a:spLocks/>
            </p:cNvSpPr>
            <p:nvPr/>
          </p:nvSpPr>
          <p:spPr bwMode="auto">
            <a:xfrm>
              <a:off x="634" y="2263"/>
              <a:ext cx="144" cy="84"/>
            </a:xfrm>
            <a:custGeom>
              <a:avLst/>
              <a:gdLst>
                <a:gd name="T0" fmla="*/ 0 w 145"/>
                <a:gd name="T1" fmla="*/ 0 h 83"/>
                <a:gd name="T2" fmla="*/ 0 w 145"/>
                <a:gd name="T3" fmla="*/ 19 h 83"/>
                <a:gd name="T4" fmla="*/ 111 w 145"/>
                <a:gd name="T5" fmla="*/ 117 h 83"/>
                <a:gd name="T6" fmla="*/ 111 w 145"/>
                <a:gd name="T7" fmla="*/ 92 h 83"/>
                <a:gd name="T8" fmla="*/ 0 w 145"/>
                <a:gd name="T9" fmla="*/ 0 h 8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5"/>
                <a:gd name="T16" fmla="*/ 0 h 83"/>
                <a:gd name="T17" fmla="*/ 145 w 145"/>
                <a:gd name="T18" fmla="*/ 83 h 8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5" h="83">
                  <a:moveTo>
                    <a:pt x="0" y="0"/>
                  </a:moveTo>
                  <a:lnTo>
                    <a:pt x="0" y="19"/>
                  </a:lnTo>
                  <a:lnTo>
                    <a:pt x="145" y="83"/>
                  </a:lnTo>
                  <a:lnTo>
                    <a:pt x="145" y="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0A0A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sp>
          <p:nvSpPr>
            <p:cNvPr id="334" name="Freeform 8"/>
            <p:cNvSpPr>
              <a:spLocks/>
            </p:cNvSpPr>
            <p:nvPr/>
          </p:nvSpPr>
          <p:spPr bwMode="auto">
            <a:xfrm>
              <a:off x="632" y="1977"/>
              <a:ext cx="146" cy="345"/>
            </a:xfrm>
            <a:custGeom>
              <a:avLst/>
              <a:gdLst>
                <a:gd name="T0" fmla="*/ 0 w 146"/>
                <a:gd name="T1" fmla="*/ 2 h 345"/>
                <a:gd name="T2" fmla="*/ 0 w 146"/>
                <a:gd name="T3" fmla="*/ 285 h 345"/>
                <a:gd name="T4" fmla="*/ 146 w 146"/>
                <a:gd name="T5" fmla="*/ 345 h 345"/>
                <a:gd name="T6" fmla="*/ 146 w 146"/>
                <a:gd name="T7" fmla="*/ 0 h 345"/>
                <a:gd name="T8" fmla="*/ 0 w 146"/>
                <a:gd name="T9" fmla="*/ 2 h 34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6"/>
                <a:gd name="T16" fmla="*/ 0 h 345"/>
                <a:gd name="T17" fmla="*/ 146 w 146"/>
                <a:gd name="T18" fmla="*/ 345 h 34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6" h="345">
                  <a:moveTo>
                    <a:pt x="0" y="2"/>
                  </a:moveTo>
                  <a:lnTo>
                    <a:pt x="0" y="285"/>
                  </a:lnTo>
                  <a:lnTo>
                    <a:pt x="146" y="345"/>
                  </a:lnTo>
                  <a:lnTo>
                    <a:pt x="14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C0C0C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grpSp>
          <p:nvGrpSpPr>
            <p:cNvPr id="335" name="Group 9"/>
            <p:cNvGrpSpPr>
              <a:grpSpLocks/>
            </p:cNvGrpSpPr>
            <p:nvPr/>
          </p:nvGrpSpPr>
          <p:grpSpPr bwMode="auto">
            <a:xfrm>
              <a:off x="637" y="1991"/>
              <a:ext cx="135" cy="144"/>
              <a:chOff x="637" y="1991"/>
              <a:chExt cx="135" cy="144"/>
            </a:xfrm>
          </p:grpSpPr>
          <p:sp>
            <p:nvSpPr>
              <p:cNvPr id="647" name="Freeform 10"/>
              <p:cNvSpPr>
                <a:spLocks/>
              </p:cNvSpPr>
              <p:nvPr/>
            </p:nvSpPr>
            <p:spPr bwMode="auto">
              <a:xfrm>
                <a:off x="637" y="1991"/>
                <a:ext cx="135" cy="144"/>
              </a:xfrm>
              <a:custGeom>
                <a:avLst/>
                <a:gdLst>
                  <a:gd name="T0" fmla="*/ 0 w 135"/>
                  <a:gd name="T1" fmla="*/ 0 h 143"/>
                  <a:gd name="T2" fmla="*/ 135 w 135"/>
                  <a:gd name="T3" fmla="*/ 0 h 143"/>
                  <a:gd name="T4" fmla="*/ 135 w 135"/>
                  <a:gd name="T5" fmla="*/ 177 h 143"/>
                  <a:gd name="T6" fmla="*/ 0 w 135"/>
                  <a:gd name="T7" fmla="*/ 152 h 143"/>
                  <a:gd name="T8" fmla="*/ 0 w 135"/>
                  <a:gd name="T9" fmla="*/ 0 h 1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5"/>
                  <a:gd name="T16" fmla="*/ 0 h 143"/>
                  <a:gd name="T17" fmla="*/ 135 w 135"/>
                  <a:gd name="T18" fmla="*/ 143 h 1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5" h="143">
                    <a:moveTo>
                      <a:pt x="0" y="0"/>
                    </a:moveTo>
                    <a:lnTo>
                      <a:pt x="135" y="0"/>
                    </a:lnTo>
                    <a:lnTo>
                      <a:pt x="135" y="143"/>
                    </a:lnTo>
                    <a:lnTo>
                      <a:pt x="0" y="11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 w="1588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grpSp>
            <p:nvGrpSpPr>
              <p:cNvPr id="648" name="Group 11"/>
              <p:cNvGrpSpPr>
                <a:grpSpLocks/>
              </p:cNvGrpSpPr>
              <p:nvPr/>
            </p:nvGrpSpPr>
            <p:grpSpPr bwMode="auto">
              <a:xfrm>
                <a:off x="641" y="1995"/>
                <a:ext cx="127" cy="136"/>
                <a:chOff x="641" y="1995"/>
                <a:chExt cx="127" cy="136"/>
              </a:xfrm>
            </p:grpSpPr>
            <p:sp>
              <p:nvSpPr>
                <p:cNvPr id="649" name="Freeform 12"/>
                <p:cNvSpPr>
                  <a:spLocks/>
                </p:cNvSpPr>
                <p:nvPr/>
              </p:nvSpPr>
              <p:spPr bwMode="auto">
                <a:xfrm>
                  <a:off x="641" y="1995"/>
                  <a:ext cx="126" cy="133"/>
                </a:xfrm>
                <a:custGeom>
                  <a:avLst/>
                  <a:gdLst>
                    <a:gd name="T0" fmla="*/ 0 w 122"/>
                    <a:gd name="T1" fmla="*/ 0 h 127"/>
                    <a:gd name="T2" fmla="*/ 0 w 122"/>
                    <a:gd name="T3" fmla="*/ 504 h 127"/>
                    <a:gd name="T4" fmla="*/ 277 w 122"/>
                    <a:gd name="T5" fmla="*/ 611 h 127"/>
                    <a:gd name="T6" fmla="*/ 277 w 122"/>
                    <a:gd name="T7" fmla="*/ 3 h 127"/>
                    <a:gd name="T8" fmla="*/ 0 w 122"/>
                    <a:gd name="T9" fmla="*/ 0 h 1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2"/>
                    <a:gd name="T16" fmla="*/ 0 h 127"/>
                    <a:gd name="T17" fmla="*/ 122 w 122"/>
                    <a:gd name="T18" fmla="*/ 127 h 12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2" h="127">
                      <a:moveTo>
                        <a:pt x="0" y="0"/>
                      </a:moveTo>
                      <a:lnTo>
                        <a:pt x="0" y="105"/>
                      </a:lnTo>
                      <a:lnTo>
                        <a:pt x="122" y="127"/>
                      </a:lnTo>
                      <a:lnTo>
                        <a:pt x="122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0" name="Freeform 13"/>
                <p:cNvSpPr>
                  <a:spLocks/>
                </p:cNvSpPr>
                <p:nvPr/>
              </p:nvSpPr>
              <p:spPr bwMode="auto">
                <a:xfrm>
                  <a:off x="641" y="1998"/>
                  <a:ext cx="126" cy="133"/>
                </a:xfrm>
                <a:custGeom>
                  <a:avLst/>
                  <a:gdLst>
                    <a:gd name="T0" fmla="*/ 0 w 122"/>
                    <a:gd name="T1" fmla="*/ 0 h 128"/>
                    <a:gd name="T2" fmla="*/ 0 w 122"/>
                    <a:gd name="T3" fmla="*/ 383 h 128"/>
                    <a:gd name="T4" fmla="*/ 277 w 122"/>
                    <a:gd name="T5" fmla="*/ 473 h 128"/>
                    <a:gd name="T6" fmla="*/ 277 w 122"/>
                    <a:gd name="T7" fmla="*/ 458 h 128"/>
                    <a:gd name="T8" fmla="*/ 277 w 122"/>
                    <a:gd name="T9" fmla="*/ 5 h 128"/>
                    <a:gd name="T10" fmla="*/ 0 w 122"/>
                    <a:gd name="T11" fmla="*/ 0 h 12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22"/>
                    <a:gd name="T19" fmla="*/ 0 h 128"/>
                    <a:gd name="T20" fmla="*/ 122 w 122"/>
                    <a:gd name="T21" fmla="*/ 128 h 12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22" h="128">
                      <a:moveTo>
                        <a:pt x="0" y="0"/>
                      </a:moveTo>
                      <a:lnTo>
                        <a:pt x="0" y="105"/>
                      </a:lnTo>
                      <a:lnTo>
                        <a:pt x="122" y="128"/>
                      </a:lnTo>
                      <a:lnTo>
                        <a:pt x="122" y="125"/>
                      </a:lnTo>
                      <a:lnTo>
                        <a:pt x="122" y="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1" name="Freeform 14"/>
                <p:cNvSpPr>
                  <a:spLocks/>
                </p:cNvSpPr>
                <p:nvPr/>
              </p:nvSpPr>
              <p:spPr bwMode="auto">
                <a:xfrm>
                  <a:off x="641" y="1995"/>
                  <a:ext cx="126" cy="133"/>
                </a:xfrm>
                <a:custGeom>
                  <a:avLst/>
                  <a:gdLst>
                    <a:gd name="T0" fmla="*/ 0 w 122"/>
                    <a:gd name="T1" fmla="*/ 0 h 126"/>
                    <a:gd name="T2" fmla="*/ 0 w 122"/>
                    <a:gd name="T3" fmla="*/ 667 h 126"/>
                    <a:gd name="T4" fmla="*/ 277 w 122"/>
                    <a:gd name="T5" fmla="*/ 797 h 126"/>
                    <a:gd name="T6" fmla="*/ 277 w 122"/>
                    <a:gd name="T7" fmla="*/ 3 h 126"/>
                    <a:gd name="T8" fmla="*/ 0 w 122"/>
                    <a:gd name="T9" fmla="*/ 0 h 1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2"/>
                    <a:gd name="T16" fmla="*/ 0 h 126"/>
                    <a:gd name="T17" fmla="*/ 122 w 122"/>
                    <a:gd name="T18" fmla="*/ 126 h 1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2" h="126">
                      <a:moveTo>
                        <a:pt x="0" y="0"/>
                      </a:moveTo>
                      <a:lnTo>
                        <a:pt x="0" y="105"/>
                      </a:lnTo>
                      <a:lnTo>
                        <a:pt x="122" y="126"/>
                      </a:lnTo>
                      <a:lnTo>
                        <a:pt x="122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6060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grpSp>
              <p:nvGrpSpPr>
                <p:cNvPr id="652" name="Group 15"/>
                <p:cNvGrpSpPr>
                  <a:grpSpLocks/>
                </p:cNvGrpSpPr>
                <p:nvPr/>
              </p:nvGrpSpPr>
              <p:grpSpPr bwMode="auto">
                <a:xfrm>
                  <a:off x="642" y="1998"/>
                  <a:ext cx="125" cy="123"/>
                  <a:chOff x="642" y="1998"/>
                  <a:chExt cx="125" cy="123"/>
                </a:xfrm>
              </p:grpSpPr>
              <p:sp>
                <p:nvSpPr>
                  <p:cNvPr id="702" name="Freeform 16"/>
                  <p:cNvSpPr>
                    <a:spLocks/>
                  </p:cNvSpPr>
                  <p:nvPr/>
                </p:nvSpPr>
                <p:spPr bwMode="auto">
                  <a:xfrm>
                    <a:off x="642" y="1998"/>
                    <a:ext cx="9" cy="102"/>
                  </a:xfrm>
                  <a:custGeom>
                    <a:avLst/>
                    <a:gdLst>
                      <a:gd name="T0" fmla="*/ 0 w 7"/>
                      <a:gd name="T1" fmla="*/ 0 h 102"/>
                      <a:gd name="T2" fmla="*/ 0 w 7"/>
                      <a:gd name="T3" fmla="*/ 101 h 102"/>
                      <a:gd name="T4" fmla="*/ 35178 w 7"/>
                      <a:gd name="T5" fmla="*/ 102 h 102"/>
                      <a:gd name="T6" fmla="*/ 35178 w 7"/>
                      <a:gd name="T7" fmla="*/ 0 h 102"/>
                      <a:gd name="T8" fmla="*/ 0 w 7"/>
                      <a:gd name="T9" fmla="*/ 0 h 10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2"/>
                      <a:gd name="T17" fmla="*/ 7 w 7"/>
                      <a:gd name="T18" fmla="*/ 102 h 10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2">
                        <a:moveTo>
                          <a:pt x="0" y="0"/>
                        </a:moveTo>
                        <a:lnTo>
                          <a:pt x="0" y="101"/>
                        </a:lnTo>
                        <a:lnTo>
                          <a:pt x="7" y="102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3" name="Freeform 17"/>
                  <p:cNvSpPr>
                    <a:spLocks/>
                  </p:cNvSpPr>
                  <p:nvPr/>
                </p:nvSpPr>
                <p:spPr bwMode="auto">
                  <a:xfrm>
                    <a:off x="653" y="1998"/>
                    <a:ext cx="7" cy="107"/>
                  </a:xfrm>
                  <a:custGeom>
                    <a:avLst/>
                    <a:gdLst>
                      <a:gd name="T0" fmla="*/ 0 w 6"/>
                      <a:gd name="T1" fmla="*/ 0 h 103"/>
                      <a:gd name="T2" fmla="*/ 0 w 6"/>
                      <a:gd name="T3" fmla="*/ 370 h 103"/>
                      <a:gd name="T4" fmla="*/ 1210 w 6"/>
                      <a:gd name="T5" fmla="*/ 377 h 103"/>
                      <a:gd name="T6" fmla="*/ 1210 w 6"/>
                      <a:gd name="T7" fmla="*/ 0 h 103"/>
                      <a:gd name="T8" fmla="*/ 0 w 6"/>
                      <a:gd name="T9" fmla="*/ 0 h 10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"/>
                      <a:gd name="T16" fmla="*/ 0 h 103"/>
                      <a:gd name="T17" fmla="*/ 6 w 6"/>
                      <a:gd name="T18" fmla="*/ 103 h 10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" h="103">
                        <a:moveTo>
                          <a:pt x="0" y="0"/>
                        </a:moveTo>
                        <a:lnTo>
                          <a:pt x="0" y="102"/>
                        </a:lnTo>
                        <a:lnTo>
                          <a:pt x="6" y="103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4" name="Freeform 18"/>
                  <p:cNvSpPr>
                    <a:spLocks/>
                  </p:cNvSpPr>
                  <p:nvPr/>
                </p:nvSpPr>
                <p:spPr bwMode="auto">
                  <a:xfrm>
                    <a:off x="660" y="1998"/>
                    <a:ext cx="10" cy="107"/>
                  </a:xfrm>
                  <a:custGeom>
                    <a:avLst/>
                    <a:gdLst>
                      <a:gd name="T0" fmla="*/ 0 w 7"/>
                      <a:gd name="T1" fmla="*/ 0 h 104"/>
                      <a:gd name="T2" fmla="*/ 0 w 7"/>
                      <a:gd name="T3" fmla="*/ 270 h 104"/>
                      <a:gd name="T4" fmla="*/ 35178 w 7"/>
                      <a:gd name="T5" fmla="*/ 272 h 104"/>
                      <a:gd name="T6" fmla="*/ 35178 w 7"/>
                      <a:gd name="T7" fmla="*/ 0 h 104"/>
                      <a:gd name="T8" fmla="*/ 0 w 7"/>
                      <a:gd name="T9" fmla="*/ 0 h 10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4"/>
                      <a:gd name="T17" fmla="*/ 7 w 7"/>
                      <a:gd name="T18" fmla="*/ 104 h 10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4">
                        <a:moveTo>
                          <a:pt x="0" y="0"/>
                        </a:moveTo>
                        <a:lnTo>
                          <a:pt x="0" y="103"/>
                        </a:lnTo>
                        <a:lnTo>
                          <a:pt x="7" y="104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5" name="Freeform 19"/>
                  <p:cNvSpPr>
                    <a:spLocks/>
                  </p:cNvSpPr>
                  <p:nvPr/>
                </p:nvSpPr>
                <p:spPr bwMode="auto">
                  <a:xfrm>
                    <a:off x="670" y="1998"/>
                    <a:ext cx="7" cy="107"/>
                  </a:xfrm>
                  <a:custGeom>
                    <a:avLst/>
                    <a:gdLst>
                      <a:gd name="T0" fmla="*/ 0 w 7"/>
                      <a:gd name="T1" fmla="*/ 0 h 105"/>
                      <a:gd name="T2" fmla="*/ 0 w 7"/>
                      <a:gd name="T3" fmla="*/ 194 h 105"/>
                      <a:gd name="T4" fmla="*/ 7 w 7"/>
                      <a:gd name="T5" fmla="*/ 196 h 105"/>
                      <a:gd name="T6" fmla="*/ 7 w 7"/>
                      <a:gd name="T7" fmla="*/ 0 h 105"/>
                      <a:gd name="T8" fmla="*/ 0 w 7"/>
                      <a:gd name="T9" fmla="*/ 0 h 10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5"/>
                      <a:gd name="T17" fmla="*/ 7 w 7"/>
                      <a:gd name="T18" fmla="*/ 105 h 10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5">
                        <a:moveTo>
                          <a:pt x="0" y="0"/>
                        </a:moveTo>
                        <a:lnTo>
                          <a:pt x="0" y="104"/>
                        </a:lnTo>
                        <a:lnTo>
                          <a:pt x="7" y="105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6" name="Freeform 20"/>
                  <p:cNvSpPr>
                    <a:spLocks/>
                  </p:cNvSpPr>
                  <p:nvPr/>
                </p:nvSpPr>
                <p:spPr bwMode="auto">
                  <a:xfrm>
                    <a:off x="681" y="1998"/>
                    <a:ext cx="5" cy="109"/>
                  </a:xfrm>
                  <a:custGeom>
                    <a:avLst/>
                    <a:gdLst>
                      <a:gd name="T0" fmla="*/ 0 w 6"/>
                      <a:gd name="T1" fmla="*/ 0 h 108"/>
                      <a:gd name="T2" fmla="*/ 0 w 6"/>
                      <a:gd name="T3" fmla="*/ 139 h 108"/>
                      <a:gd name="T4" fmla="*/ 3 w 6"/>
                      <a:gd name="T5" fmla="*/ 142 h 108"/>
                      <a:gd name="T6" fmla="*/ 3 w 6"/>
                      <a:gd name="T7" fmla="*/ 0 h 108"/>
                      <a:gd name="T8" fmla="*/ 0 w 6"/>
                      <a:gd name="T9" fmla="*/ 0 h 10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"/>
                      <a:gd name="T16" fmla="*/ 0 h 108"/>
                      <a:gd name="T17" fmla="*/ 6 w 6"/>
                      <a:gd name="T18" fmla="*/ 108 h 10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" h="108">
                        <a:moveTo>
                          <a:pt x="0" y="0"/>
                        </a:moveTo>
                        <a:lnTo>
                          <a:pt x="0" y="105"/>
                        </a:lnTo>
                        <a:lnTo>
                          <a:pt x="6" y="108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7" name="Freeform 21"/>
                  <p:cNvSpPr>
                    <a:spLocks/>
                  </p:cNvSpPr>
                  <p:nvPr/>
                </p:nvSpPr>
                <p:spPr bwMode="auto">
                  <a:xfrm>
                    <a:off x="687" y="1998"/>
                    <a:ext cx="7" cy="114"/>
                  </a:xfrm>
                  <a:custGeom>
                    <a:avLst/>
                    <a:gdLst>
                      <a:gd name="T0" fmla="*/ 0 w 7"/>
                      <a:gd name="T1" fmla="*/ 0 h 109"/>
                      <a:gd name="T2" fmla="*/ 0 w 7"/>
                      <a:gd name="T3" fmla="*/ 495 h 109"/>
                      <a:gd name="T4" fmla="*/ 6 w 7"/>
                      <a:gd name="T5" fmla="*/ 500 h 109"/>
                      <a:gd name="T6" fmla="*/ 7 w 7"/>
                      <a:gd name="T7" fmla="*/ 1 h 109"/>
                      <a:gd name="T8" fmla="*/ 0 w 7"/>
                      <a:gd name="T9" fmla="*/ 0 h 1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9"/>
                      <a:gd name="T17" fmla="*/ 7 w 7"/>
                      <a:gd name="T18" fmla="*/ 109 h 10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9">
                        <a:moveTo>
                          <a:pt x="0" y="0"/>
                        </a:moveTo>
                        <a:lnTo>
                          <a:pt x="0" y="108"/>
                        </a:lnTo>
                        <a:lnTo>
                          <a:pt x="6" y="109"/>
                        </a:lnTo>
                        <a:lnTo>
                          <a:pt x="7" y="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8" name="Freeform 22"/>
                  <p:cNvSpPr>
                    <a:spLocks/>
                  </p:cNvSpPr>
                  <p:nvPr/>
                </p:nvSpPr>
                <p:spPr bwMode="auto">
                  <a:xfrm>
                    <a:off x="696" y="2000"/>
                    <a:ext cx="7" cy="109"/>
                  </a:xfrm>
                  <a:custGeom>
                    <a:avLst/>
                    <a:gdLst>
                      <a:gd name="T0" fmla="*/ 0 w 7"/>
                      <a:gd name="T1" fmla="*/ 0 h 109"/>
                      <a:gd name="T2" fmla="*/ 0 w 7"/>
                      <a:gd name="T3" fmla="*/ 108 h 109"/>
                      <a:gd name="T4" fmla="*/ 7 w 7"/>
                      <a:gd name="T5" fmla="*/ 109 h 109"/>
                      <a:gd name="T6" fmla="*/ 7 w 7"/>
                      <a:gd name="T7" fmla="*/ 0 h 109"/>
                      <a:gd name="T8" fmla="*/ 0 w 7"/>
                      <a:gd name="T9" fmla="*/ 0 h 1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9"/>
                      <a:gd name="T17" fmla="*/ 7 w 7"/>
                      <a:gd name="T18" fmla="*/ 109 h 10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9">
                        <a:moveTo>
                          <a:pt x="0" y="0"/>
                        </a:moveTo>
                        <a:lnTo>
                          <a:pt x="0" y="108"/>
                        </a:lnTo>
                        <a:lnTo>
                          <a:pt x="7" y="109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9" name="Freeform 23"/>
                  <p:cNvSpPr>
                    <a:spLocks/>
                  </p:cNvSpPr>
                  <p:nvPr/>
                </p:nvSpPr>
                <p:spPr bwMode="auto">
                  <a:xfrm>
                    <a:off x="706" y="2000"/>
                    <a:ext cx="5" cy="114"/>
                  </a:xfrm>
                  <a:custGeom>
                    <a:avLst/>
                    <a:gdLst>
                      <a:gd name="T0" fmla="*/ 0 w 6"/>
                      <a:gd name="T1" fmla="*/ 0 h 112"/>
                      <a:gd name="T2" fmla="*/ 0 w 6"/>
                      <a:gd name="T3" fmla="*/ 195 h 112"/>
                      <a:gd name="T4" fmla="*/ 3 w 6"/>
                      <a:gd name="T5" fmla="*/ 201 h 112"/>
                      <a:gd name="T6" fmla="*/ 3 w 6"/>
                      <a:gd name="T7" fmla="*/ 0 h 112"/>
                      <a:gd name="T8" fmla="*/ 0 w 6"/>
                      <a:gd name="T9" fmla="*/ 0 h 11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"/>
                      <a:gd name="T16" fmla="*/ 0 h 112"/>
                      <a:gd name="T17" fmla="*/ 6 w 6"/>
                      <a:gd name="T18" fmla="*/ 112 h 11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" h="112">
                        <a:moveTo>
                          <a:pt x="0" y="0"/>
                        </a:moveTo>
                        <a:lnTo>
                          <a:pt x="0" y="109"/>
                        </a:lnTo>
                        <a:lnTo>
                          <a:pt x="6" y="112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10" name="Freeform 24"/>
                  <p:cNvSpPr>
                    <a:spLocks/>
                  </p:cNvSpPr>
                  <p:nvPr/>
                </p:nvSpPr>
                <p:spPr bwMode="auto">
                  <a:xfrm>
                    <a:off x="715" y="2000"/>
                    <a:ext cx="7" cy="114"/>
                  </a:xfrm>
                  <a:custGeom>
                    <a:avLst/>
                    <a:gdLst>
                      <a:gd name="T0" fmla="*/ 0 w 7"/>
                      <a:gd name="T1" fmla="*/ 0 h 113"/>
                      <a:gd name="T2" fmla="*/ 0 w 7"/>
                      <a:gd name="T3" fmla="*/ 146 h 113"/>
                      <a:gd name="T4" fmla="*/ 7 w 7"/>
                      <a:gd name="T5" fmla="*/ 147 h 113"/>
                      <a:gd name="T6" fmla="*/ 7 w 7"/>
                      <a:gd name="T7" fmla="*/ 0 h 113"/>
                      <a:gd name="T8" fmla="*/ 0 w 7"/>
                      <a:gd name="T9" fmla="*/ 0 h 11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3"/>
                      <a:gd name="T17" fmla="*/ 7 w 7"/>
                      <a:gd name="T18" fmla="*/ 113 h 11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3">
                        <a:moveTo>
                          <a:pt x="0" y="0"/>
                        </a:moveTo>
                        <a:lnTo>
                          <a:pt x="0" y="112"/>
                        </a:lnTo>
                        <a:lnTo>
                          <a:pt x="7" y="113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11" name="Freeform 25"/>
                  <p:cNvSpPr>
                    <a:spLocks/>
                  </p:cNvSpPr>
                  <p:nvPr/>
                </p:nvSpPr>
                <p:spPr bwMode="auto">
                  <a:xfrm>
                    <a:off x="724" y="2000"/>
                    <a:ext cx="5" cy="114"/>
                  </a:xfrm>
                  <a:custGeom>
                    <a:avLst/>
                    <a:gdLst>
                      <a:gd name="T0" fmla="*/ 0 w 6"/>
                      <a:gd name="T1" fmla="*/ 0 h 114"/>
                      <a:gd name="T2" fmla="*/ 0 w 6"/>
                      <a:gd name="T3" fmla="*/ 113 h 114"/>
                      <a:gd name="T4" fmla="*/ 3 w 6"/>
                      <a:gd name="T5" fmla="*/ 114 h 114"/>
                      <a:gd name="T6" fmla="*/ 3 w 6"/>
                      <a:gd name="T7" fmla="*/ 0 h 114"/>
                      <a:gd name="T8" fmla="*/ 0 w 6"/>
                      <a:gd name="T9" fmla="*/ 0 h 11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"/>
                      <a:gd name="T16" fmla="*/ 0 h 114"/>
                      <a:gd name="T17" fmla="*/ 6 w 6"/>
                      <a:gd name="T18" fmla="*/ 114 h 11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" h="114">
                        <a:moveTo>
                          <a:pt x="0" y="0"/>
                        </a:moveTo>
                        <a:lnTo>
                          <a:pt x="0" y="113"/>
                        </a:lnTo>
                        <a:lnTo>
                          <a:pt x="6" y="114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12" name="Freeform 26"/>
                  <p:cNvSpPr>
                    <a:spLocks/>
                  </p:cNvSpPr>
                  <p:nvPr/>
                </p:nvSpPr>
                <p:spPr bwMode="auto">
                  <a:xfrm>
                    <a:off x="732" y="2002"/>
                    <a:ext cx="7" cy="114"/>
                  </a:xfrm>
                  <a:custGeom>
                    <a:avLst/>
                    <a:gdLst>
                      <a:gd name="T0" fmla="*/ 0 w 7"/>
                      <a:gd name="T1" fmla="*/ 0 h 114"/>
                      <a:gd name="T2" fmla="*/ 0 w 7"/>
                      <a:gd name="T3" fmla="*/ 113 h 114"/>
                      <a:gd name="T4" fmla="*/ 7 w 7"/>
                      <a:gd name="T5" fmla="*/ 114 h 114"/>
                      <a:gd name="T6" fmla="*/ 7 w 7"/>
                      <a:gd name="T7" fmla="*/ 0 h 114"/>
                      <a:gd name="T8" fmla="*/ 0 w 7"/>
                      <a:gd name="T9" fmla="*/ 0 h 11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4"/>
                      <a:gd name="T17" fmla="*/ 7 w 7"/>
                      <a:gd name="T18" fmla="*/ 114 h 11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4">
                        <a:moveTo>
                          <a:pt x="0" y="0"/>
                        </a:moveTo>
                        <a:lnTo>
                          <a:pt x="0" y="113"/>
                        </a:lnTo>
                        <a:lnTo>
                          <a:pt x="7" y="114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13" name="Freeform 27"/>
                  <p:cNvSpPr>
                    <a:spLocks/>
                  </p:cNvSpPr>
                  <p:nvPr/>
                </p:nvSpPr>
                <p:spPr bwMode="auto">
                  <a:xfrm>
                    <a:off x="741" y="2002"/>
                    <a:ext cx="9" cy="116"/>
                  </a:xfrm>
                  <a:custGeom>
                    <a:avLst/>
                    <a:gdLst>
                      <a:gd name="T0" fmla="*/ 0 w 7"/>
                      <a:gd name="T1" fmla="*/ 0 h 115"/>
                      <a:gd name="T2" fmla="*/ 0 w 7"/>
                      <a:gd name="T3" fmla="*/ 148 h 115"/>
                      <a:gd name="T4" fmla="*/ 35178 w 7"/>
                      <a:gd name="T5" fmla="*/ 149 h 115"/>
                      <a:gd name="T6" fmla="*/ 35178 w 7"/>
                      <a:gd name="T7" fmla="*/ 0 h 115"/>
                      <a:gd name="T8" fmla="*/ 0 w 7"/>
                      <a:gd name="T9" fmla="*/ 0 h 11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5"/>
                      <a:gd name="T17" fmla="*/ 7 w 7"/>
                      <a:gd name="T18" fmla="*/ 115 h 11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5">
                        <a:moveTo>
                          <a:pt x="0" y="0"/>
                        </a:moveTo>
                        <a:lnTo>
                          <a:pt x="0" y="114"/>
                        </a:lnTo>
                        <a:lnTo>
                          <a:pt x="7" y="115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14" name="Freeform 28"/>
                  <p:cNvSpPr>
                    <a:spLocks/>
                  </p:cNvSpPr>
                  <p:nvPr/>
                </p:nvSpPr>
                <p:spPr bwMode="auto">
                  <a:xfrm>
                    <a:off x="752" y="2002"/>
                    <a:ext cx="7" cy="119"/>
                  </a:xfrm>
                  <a:custGeom>
                    <a:avLst/>
                    <a:gdLst>
                      <a:gd name="T0" fmla="*/ 0 w 7"/>
                      <a:gd name="T1" fmla="*/ 0 h 117"/>
                      <a:gd name="T2" fmla="*/ 0 w 7"/>
                      <a:gd name="T3" fmla="*/ 201 h 117"/>
                      <a:gd name="T4" fmla="*/ 7 w 7"/>
                      <a:gd name="T5" fmla="*/ 204 h 117"/>
                      <a:gd name="T6" fmla="*/ 7 w 7"/>
                      <a:gd name="T7" fmla="*/ 0 h 117"/>
                      <a:gd name="T8" fmla="*/ 0 w 7"/>
                      <a:gd name="T9" fmla="*/ 0 h 1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7"/>
                      <a:gd name="T17" fmla="*/ 7 w 7"/>
                      <a:gd name="T18" fmla="*/ 117 h 1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7">
                        <a:moveTo>
                          <a:pt x="0" y="0"/>
                        </a:moveTo>
                        <a:lnTo>
                          <a:pt x="0" y="115"/>
                        </a:lnTo>
                        <a:lnTo>
                          <a:pt x="7" y="117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15" name="Freeform 29"/>
                  <p:cNvSpPr>
                    <a:spLocks/>
                  </p:cNvSpPr>
                  <p:nvPr/>
                </p:nvSpPr>
                <p:spPr bwMode="auto">
                  <a:xfrm>
                    <a:off x="758" y="2002"/>
                    <a:ext cx="9" cy="119"/>
                  </a:xfrm>
                  <a:custGeom>
                    <a:avLst/>
                    <a:gdLst>
                      <a:gd name="T0" fmla="*/ 0 w 7"/>
                      <a:gd name="T1" fmla="*/ 0 h 118"/>
                      <a:gd name="T2" fmla="*/ 0 w 7"/>
                      <a:gd name="T3" fmla="*/ 151 h 118"/>
                      <a:gd name="T4" fmla="*/ 35178 w 7"/>
                      <a:gd name="T5" fmla="*/ 152 h 118"/>
                      <a:gd name="T6" fmla="*/ 35178 w 7"/>
                      <a:gd name="T7" fmla="*/ 0 h 118"/>
                      <a:gd name="T8" fmla="*/ 0 w 7"/>
                      <a:gd name="T9" fmla="*/ 0 h 11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8"/>
                      <a:gd name="T17" fmla="*/ 7 w 7"/>
                      <a:gd name="T18" fmla="*/ 118 h 11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8">
                        <a:moveTo>
                          <a:pt x="0" y="0"/>
                        </a:moveTo>
                        <a:lnTo>
                          <a:pt x="0" y="117"/>
                        </a:lnTo>
                        <a:lnTo>
                          <a:pt x="7" y="118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</p:grpSp>
            <p:sp>
              <p:nvSpPr>
                <p:cNvPr id="653" name="Freeform 30"/>
                <p:cNvSpPr>
                  <a:spLocks/>
                </p:cNvSpPr>
                <p:nvPr/>
              </p:nvSpPr>
              <p:spPr bwMode="auto">
                <a:xfrm>
                  <a:off x="644" y="1998"/>
                  <a:ext cx="7" cy="0"/>
                </a:xfrm>
                <a:custGeom>
                  <a:avLst/>
                  <a:gdLst>
                    <a:gd name="T0" fmla="*/ 0 w 8"/>
                    <a:gd name="T1" fmla="*/ 0 h 1"/>
                    <a:gd name="T2" fmla="*/ 4 w 8"/>
                    <a:gd name="T3" fmla="*/ 0 h 1"/>
                    <a:gd name="T4" fmla="*/ 4 w 8"/>
                    <a:gd name="T5" fmla="*/ 0 h 1"/>
                    <a:gd name="T6" fmla="*/ 1 w 8"/>
                    <a:gd name="T7" fmla="*/ 0 h 1"/>
                    <a:gd name="T8" fmla="*/ 0 w 8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"/>
                    <a:gd name="T17" fmla="*/ 8 w 8"/>
                    <a:gd name="T18" fmla="*/ 0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4" name="Freeform 31"/>
                <p:cNvSpPr>
                  <a:spLocks/>
                </p:cNvSpPr>
                <p:nvPr/>
              </p:nvSpPr>
              <p:spPr bwMode="auto">
                <a:xfrm>
                  <a:off x="653" y="1998"/>
                  <a:ext cx="7" cy="2"/>
                </a:xfrm>
                <a:custGeom>
                  <a:avLst/>
                  <a:gdLst>
                    <a:gd name="T0" fmla="*/ 0 w 7"/>
                    <a:gd name="T1" fmla="*/ 0 h 1"/>
                    <a:gd name="T2" fmla="*/ 6 w 7"/>
                    <a:gd name="T3" fmla="*/ 2147483647 h 1"/>
                    <a:gd name="T4" fmla="*/ 7 w 7"/>
                    <a:gd name="T5" fmla="*/ 0 h 1"/>
                    <a:gd name="T6" fmla="*/ 0 w 7"/>
                    <a:gd name="T7" fmla="*/ 0 h 1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7"/>
                    <a:gd name="T13" fmla="*/ 0 h 1"/>
                    <a:gd name="T14" fmla="*/ 7 w 7"/>
                    <a:gd name="T15" fmla="*/ 1 h 1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7" h="1">
                      <a:moveTo>
                        <a:pt x="0" y="0"/>
                      </a:moveTo>
                      <a:lnTo>
                        <a:pt x="6" y="1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5" name="Freeform 32"/>
                <p:cNvSpPr>
                  <a:spLocks/>
                </p:cNvSpPr>
                <p:nvPr/>
              </p:nvSpPr>
              <p:spPr bwMode="auto">
                <a:xfrm>
                  <a:off x="661" y="1998"/>
                  <a:ext cx="7" cy="2"/>
                </a:xfrm>
                <a:custGeom>
                  <a:avLst/>
                  <a:gdLst>
                    <a:gd name="T0" fmla="*/ 0 w 8"/>
                    <a:gd name="T1" fmla="*/ 2147483647 h 1"/>
                    <a:gd name="T2" fmla="*/ 4 w 8"/>
                    <a:gd name="T3" fmla="*/ 2147483647 h 1"/>
                    <a:gd name="T4" fmla="*/ 4 w 8"/>
                    <a:gd name="T5" fmla="*/ 0 h 1"/>
                    <a:gd name="T6" fmla="*/ 1 w 8"/>
                    <a:gd name="T7" fmla="*/ 0 h 1"/>
                    <a:gd name="T8" fmla="*/ 0 w 8"/>
                    <a:gd name="T9" fmla="*/ 2147483647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"/>
                    <a:gd name="T17" fmla="*/ 8 w 8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6" name="Freeform 33"/>
                <p:cNvSpPr>
                  <a:spLocks/>
                </p:cNvSpPr>
                <p:nvPr/>
              </p:nvSpPr>
              <p:spPr bwMode="auto">
                <a:xfrm>
                  <a:off x="668" y="1998"/>
                  <a:ext cx="9" cy="2"/>
                </a:xfrm>
                <a:custGeom>
                  <a:avLst/>
                  <a:gdLst>
                    <a:gd name="T0" fmla="*/ 0 w 9"/>
                    <a:gd name="T1" fmla="*/ 2147483647 h 1"/>
                    <a:gd name="T2" fmla="*/ 7 w 9"/>
                    <a:gd name="T3" fmla="*/ 2147483647 h 1"/>
                    <a:gd name="T4" fmla="*/ 9 w 9"/>
                    <a:gd name="T5" fmla="*/ 0 h 1"/>
                    <a:gd name="T6" fmla="*/ 2 w 9"/>
                    <a:gd name="T7" fmla="*/ 0 h 1"/>
                    <a:gd name="T8" fmla="*/ 0 w 9"/>
                    <a:gd name="T9" fmla="*/ 2147483647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"/>
                    <a:gd name="T17" fmla="*/ 9 w 9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7" name="Freeform 34"/>
                <p:cNvSpPr>
                  <a:spLocks/>
                </p:cNvSpPr>
                <p:nvPr/>
              </p:nvSpPr>
              <p:spPr bwMode="auto">
                <a:xfrm>
                  <a:off x="679" y="1998"/>
                  <a:ext cx="7" cy="2"/>
                </a:xfrm>
                <a:custGeom>
                  <a:avLst/>
                  <a:gdLst>
                    <a:gd name="T0" fmla="*/ 0 w 7"/>
                    <a:gd name="T1" fmla="*/ 2147483647 h 1"/>
                    <a:gd name="T2" fmla="*/ 6 w 7"/>
                    <a:gd name="T3" fmla="*/ 2147483647 h 1"/>
                    <a:gd name="T4" fmla="*/ 7 w 7"/>
                    <a:gd name="T5" fmla="*/ 0 h 1"/>
                    <a:gd name="T6" fmla="*/ 0 w 7"/>
                    <a:gd name="T7" fmla="*/ 0 h 1"/>
                    <a:gd name="T8" fmla="*/ 0 w 7"/>
                    <a:gd name="T9" fmla="*/ 2147483647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"/>
                    <a:gd name="T17" fmla="*/ 7 w 7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">
                      <a:moveTo>
                        <a:pt x="0" y="1"/>
                      </a:moveTo>
                      <a:lnTo>
                        <a:pt x="6" y="1"/>
                      </a:lnTo>
                      <a:lnTo>
                        <a:pt x="7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8" name="Freeform 35"/>
                <p:cNvSpPr>
                  <a:spLocks/>
                </p:cNvSpPr>
                <p:nvPr/>
              </p:nvSpPr>
              <p:spPr bwMode="auto">
                <a:xfrm>
                  <a:off x="687" y="1998"/>
                  <a:ext cx="7" cy="2"/>
                </a:xfrm>
                <a:custGeom>
                  <a:avLst/>
                  <a:gdLst>
                    <a:gd name="T0" fmla="*/ 0 w 7"/>
                    <a:gd name="T1" fmla="*/ 2147483647 h 1"/>
                    <a:gd name="T2" fmla="*/ 7 w 7"/>
                    <a:gd name="T3" fmla="*/ 2147483647 h 1"/>
                    <a:gd name="T4" fmla="*/ 7 w 7"/>
                    <a:gd name="T5" fmla="*/ 0 h 1"/>
                    <a:gd name="T6" fmla="*/ 1 w 7"/>
                    <a:gd name="T7" fmla="*/ 0 h 1"/>
                    <a:gd name="T8" fmla="*/ 0 w 7"/>
                    <a:gd name="T9" fmla="*/ 2147483647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"/>
                    <a:gd name="T17" fmla="*/ 7 w 7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7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9" name="Freeform 36"/>
                <p:cNvSpPr>
                  <a:spLocks/>
                </p:cNvSpPr>
                <p:nvPr/>
              </p:nvSpPr>
              <p:spPr bwMode="auto">
                <a:xfrm>
                  <a:off x="696" y="2000"/>
                  <a:ext cx="7" cy="2"/>
                </a:xfrm>
                <a:custGeom>
                  <a:avLst/>
                  <a:gdLst>
                    <a:gd name="T0" fmla="*/ 0 w 7"/>
                    <a:gd name="T1" fmla="*/ 0 h 2"/>
                    <a:gd name="T2" fmla="*/ 6 w 7"/>
                    <a:gd name="T3" fmla="*/ 2 h 2"/>
                    <a:gd name="T4" fmla="*/ 7 w 7"/>
                    <a:gd name="T5" fmla="*/ 0 h 2"/>
                    <a:gd name="T6" fmla="*/ 0 w 7"/>
                    <a:gd name="T7" fmla="*/ 0 h 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7"/>
                    <a:gd name="T13" fmla="*/ 0 h 2"/>
                    <a:gd name="T14" fmla="*/ 7 w 7"/>
                    <a:gd name="T15" fmla="*/ 2 h 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7" h="2">
                      <a:moveTo>
                        <a:pt x="0" y="0"/>
                      </a:moveTo>
                      <a:lnTo>
                        <a:pt x="6" y="2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60" name="Freeform 37"/>
                <p:cNvSpPr>
                  <a:spLocks/>
                </p:cNvSpPr>
                <p:nvPr/>
              </p:nvSpPr>
              <p:spPr bwMode="auto">
                <a:xfrm>
                  <a:off x="705" y="2000"/>
                  <a:ext cx="7" cy="2"/>
                </a:xfrm>
                <a:custGeom>
                  <a:avLst/>
                  <a:gdLst>
                    <a:gd name="T0" fmla="*/ 0 w 7"/>
                    <a:gd name="T1" fmla="*/ 2 h 2"/>
                    <a:gd name="T2" fmla="*/ 7 w 7"/>
                    <a:gd name="T3" fmla="*/ 2 h 2"/>
                    <a:gd name="T4" fmla="*/ 7 w 7"/>
                    <a:gd name="T5" fmla="*/ 0 h 2"/>
                    <a:gd name="T6" fmla="*/ 1 w 7"/>
                    <a:gd name="T7" fmla="*/ 0 h 2"/>
                    <a:gd name="T8" fmla="*/ 0 w 7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2"/>
                    <a:gd name="T17" fmla="*/ 7 w 7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2">
                      <a:moveTo>
                        <a:pt x="0" y="2"/>
                      </a:move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61" name="Freeform 38"/>
                <p:cNvSpPr>
                  <a:spLocks/>
                </p:cNvSpPr>
                <p:nvPr/>
              </p:nvSpPr>
              <p:spPr bwMode="auto">
                <a:xfrm>
                  <a:off x="713" y="2000"/>
                  <a:ext cx="9" cy="2"/>
                </a:xfrm>
                <a:custGeom>
                  <a:avLst/>
                  <a:gdLst>
                    <a:gd name="T0" fmla="*/ 0 w 8"/>
                    <a:gd name="T1" fmla="*/ 2 h 2"/>
                    <a:gd name="T2" fmla="*/ 362 w 8"/>
                    <a:gd name="T3" fmla="*/ 2 h 2"/>
                    <a:gd name="T4" fmla="*/ 407 w 8"/>
                    <a:gd name="T5" fmla="*/ 0 h 2"/>
                    <a:gd name="T6" fmla="*/ 1 w 8"/>
                    <a:gd name="T7" fmla="*/ 0 h 2"/>
                    <a:gd name="T8" fmla="*/ 0 w 8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2"/>
                    <a:gd name="T17" fmla="*/ 8 w 8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2">
                      <a:moveTo>
                        <a:pt x="0" y="2"/>
                      </a:moveTo>
                      <a:lnTo>
                        <a:pt x="7" y="2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62" name="Freeform 39"/>
                <p:cNvSpPr>
                  <a:spLocks/>
                </p:cNvSpPr>
                <p:nvPr/>
              </p:nvSpPr>
              <p:spPr bwMode="auto">
                <a:xfrm>
                  <a:off x="722" y="2000"/>
                  <a:ext cx="7" cy="2"/>
                </a:xfrm>
                <a:custGeom>
                  <a:avLst/>
                  <a:gdLst>
                    <a:gd name="T0" fmla="*/ 0 w 7"/>
                    <a:gd name="T1" fmla="*/ 2 h 2"/>
                    <a:gd name="T2" fmla="*/ 6 w 7"/>
                    <a:gd name="T3" fmla="*/ 2 h 2"/>
                    <a:gd name="T4" fmla="*/ 7 w 7"/>
                    <a:gd name="T5" fmla="*/ 0 h 2"/>
                    <a:gd name="T6" fmla="*/ 1 w 7"/>
                    <a:gd name="T7" fmla="*/ 0 h 2"/>
                    <a:gd name="T8" fmla="*/ 0 w 7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2"/>
                    <a:gd name="T17" fmla="*/ 7 w 7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2">
                      <a:moveTo>
                        <a:pt x="0" y="2"/>
                      </a:moveTo>
                      <a:lnTo>
                        <a:pt x="6" y="2"/>
                      </a:lnTo>
                      <a:lnTo>
                        <a:pt x="7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63" name="Freeform 40"/>
                <p:cNvSpPr>
                  <a:spLocks/>
                </p:cNvSpPr>
                <p:nvPr/>
              </p:nvSpPr>
              <p:spPr bwMode="auto">
                <a:xfrm>
                  <a:off x="732" y="2002"/>
                  <a:ext cx="9" cy="0"/>
                </a:xfrm>
                <a:custGeom>
                  <a:avLst/>
                  <a:gdLst>
                    <a:gd name="T0" fmla="*/ 0 w 8"/>
                    <a:gd name="T1" fmla="*/ 0 h 1"/>
                    <a:gd name="T2" fmla="*/ 362 w 8"/>
                    <a:gd name="T3" fmla="*/ 0 h 1"/>
                    <a:gd name="T4" fmla="*/ 407 w 8"/>
                    <a:gd name="T5" fmla="*/ 0 h 1"/>
                    <a:gd name="T6" fmla="*/ 1 w 8"/>
                    <a:gd name="T7" fmla="*/ 0 h 1"/>
                    <a:gd name="T8" fmla="*/ 0 w 8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"/>
                    <a:gd name="T17" fmla="*/ 8 w 8"/>
                    <a:gd name="T18" fmla="*/ 0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">
                      <a:moveTo>
                        <a:pt x="0" y="0"/>
                      </a:move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64" name="Freeform 41"/>
                <p:cNvSpPr>
                  <a:spLocks/>
                </p:cNvSpPr>
                <p:nvPr/>
              </p:nvSpPr>
              <p:spPr bwMode="auto">
                <a:xfrm>
                  <a:off x="741" y="2002"/>
                  <a:ext cx="7" cy="0"/>
                </a:xfrm>
                <a:custGeom>
                  <a:avLst/>
                  <a:gdLst>
                    <a:gd name="T0" fmla="*/ 0 w 7"/>
                    <a:gd name="T1" fmla="*/ 0 h 1"/>
                    <a:gd name="T2" fmla="*/ 5 w 7"/>
                    <a:gd name="T3" fmla="*/ 0 h 1"/>
                    <a:gd name="T4" fmla="*/ 7 w 7"/>
                    <a:gd name="T5" fmla="*/ 0 h 1"/>
                    <a:gd name="T6" fmla="*/ 0 w 7"/>
                    <a:gd name="T7" fmla="*/ 0 h 1"/>
                    <a:gd name="T8" fmla="*/ 0 w 7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"/>
                    <a:gd name="T17" fmla="*/ 7 w 7"/>
                    <a:gd name="T18" fmla="*/ 0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">
                      <a:moveTo>
                        <a:pt x="0" y="1"/>
                      </a:moveTo>
                      <a:lnTo>
                        <a:pt x="5" y="1"/>
                      </a:lnTo>
                      <a:lnTo>
                        <a:pt x="7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65" name="Rectangle 42"/>
                <p:cNvSpPr>
                  <a:spLocks noChangeArrowheads="1"/>
                </p:cNvSpPr>
                <p:nvPr/>
              </p:nvSpPr>
              <p:spPr bwMode="auto">
                <a:xfrm>
                  <a:off x="748" y="2002"/>
                  <a:ext cx="10" cy="0"/>
                </a:xfrm>
                <a:prstGeom prst="rect">
                  <a:avLst/>
                </a:pr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lnSpc>
                      <a:spcPct val="100000"/>
                    </a:lnSpc>
                    <a:spcBef>
                      <a:spcPct val="0"/>
                    </a:spcBef>
                    <a:defRPr/>
                  </a:pPr>
                  <a:endParaRPr lang="en-GB" sz="4000">
                    <a:latin typeface="+mn-lt"/>
                    <a:ea typeface="ＭＳ Ｐゴシック" pitchFamily="34" charset="-128"/>
                    <a:cs typeface="Arial" pitchFamily="34" charset="0"/>
                  </a:endParaRPr>
                </a:p>
              </p:txBody>
            </p:sp>
            <p:sp>
              <p:nvSpPr>
                <p:cNvPr id="666" name="Freeform 43"/>
                <p:cNvSpPr>
                  <a:spLocks/>
                </p:cNvSpPr>
                <p:nvPr/>
              </p:nvSpPr>
              <p:spPr bwMode="auto">
                <a:xfrm>
                  <a:off x="758" y="2002"/>
                  <a:ext cx="9" cy="0"/>
                </a:xfrm>
                <a:custGeom>
                  <a:avLst/>
                  <a:gdLst>
                    <a:gd name="T0" fmla="*/ 0 w 8"/>
                    <a:gd name="T1" fmla="*/ 0 h 1"/>
                    <a:gd name="T2" fmla="*/ 362 w 8"/>
                    <a:gd name="T3" fmla="*/ 0 h 1"/>
                    <a:gd name="T4" fmla="*/ 407 w 8"/>
                    <a:gd name="T5" fmla="*/ 0 h 1"/>
                    <a:gd name="T6" fmla="*/ 1 w 8"/>
                    <a:gd name="T7" fmla="*/ 0 h 1"/>
                    <a:gd name="T8" fmla="*/ 0 w 8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"/>
                    <a:gd name="T17" fmla="*/ 8 w 8"/>
                    <a:gd name="T18" fmla="*/ 0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grpSp>
              <p:nvGrpSpPr>
                <p:cNvPr id="667" name="Group 44"/>
                <p:cNvGrpSpPr>
                  <a:grpSpLocks/>
                </p:cNvGrpSpPr>
                <p:nvPr/>
              </p:nvGrpSpPr>
              <p:grpSpPr bwMode="auto">
                <a:xfrm>
                  <a:off x="644" y="2098"/>
                  <a:ext cx="123" cy="28"/>
                  <a:chOff x="644" y="2098"/>
                  <a:chExt cx="123" cy="28"/>
                </a:xfrm>
              </p:grpSpPr>
              <p:sp>
                <p:nvSpPr>
                  <p:cNvPr id="688" name="Freeform 45"/>
                  <p:cNvSpPr>
                    <a:spLocks/>
                  </p:cNvSpPr>
                  <p:nvPr/>
                </p:nvSpPr>
                <p:spPr bwMode="auto">
                  <a:xfrm>
                    <a:off x="644" y="2098"/>
                    <a:ext cx="9" cy="7"/>
                  </a:xfrm>
                  <a:custGeom>
                    <a:avLst/>
                    <a:gdLst>
                      <a:gd name="T0" fmla="*/ 0 w 8"/>
                      <a:gd name="T1" fmla="*/ 0 h 4"/>
                      <a:gd name="T2" fmla="*/ 1 w 8"/>
                      <a:gd name="T3" fmla="*/ 417438595 h 4"/>
                      <a:gd name="T4" fmla="*/ 407 w 8"/>
                      <a:gd name="T5" fmla="*/ 730517541 h 4"/>
                      <a:gd name="T6" fmla="*/ 407 w 8"/>
                      <a:gd name="T7" fmla="*/ 417438595 h 4"/>
                      <a:gd name="T8" fmla="*/ 361 w 8"/>
                      <a:gd name="T9" fmla="*/ 0 h 4"/>
                      <a:gd name="T10" fmla="*/ 0 w 8"/>
                      <a:gd name="T11" fmla="*/ 0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4"/>
                      <a:gd name="T20" fmla="*/ 8 w 8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4">
                        <a:moveTo>
                          <a:pt x="0" y="0"/>
                        </a:moveTo>
                        <a:lnTo>
                          <a:pt x="1" y="2"/>
                        </a:lnTo>
                        <a:lnTo>
                          <a:pt x="8" y="4"/>
                        </a:lnTo>
                        <a:lnTo>
                          <a:pt x="8" y="2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89" name="Freeform 46"/>
                  <p:cNvSpPr>
                    <a:spLocks/>
                  </p:cNvSpPr>
                  <p:nvPr/>
                </p:nvSpPr>
                <p:spPr bwMode="auto">
                  <a:xfrm>
                    <a:off x="653" y="2100"/>
                    <a:ext cx="7" cy="2"/>
                  </a:xfrm>
                  <a:custGeom>
                    <a:avLst/>
                    <a:gdLst>
                      <a:gd name="T0" fmla="*/ 0 w 7"/>
                      <a:gd name="T1" fmla="*/ 1 h 3"/>
                      <a:gd name="T2" fmla="*/ 1 w 7"/>
                      <a:gd name="T3" fmla="*/ 1 h 3"/>
                      <a:gd name="T4" fmla="*/ 7 w 7"/>
                      <a:gd name="T5" fmla="*/ 1 h 3"/>
                      <a:gd name="T6" fmla="*/ 7 w 7"/>
                      <a:gd name="T7" fmla="*/ 1 h 3"/>
                      <a:gd name="T8" fmla="*/ 5 w 7"/>
                      <a:gd name="T9" fmla="*/ 0 h 3"/>
                      <a:gd name="T10" fmla="*/ 0 w 7"/>
                      <a:gd name="T11" fmla="*/ 1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3"/>
                      <a:gd name="T20" fmla="*/ 7 w 7"/>
                      <a:gd name="T21" fmla="*/ 3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3">
                        <a:moveTo>
                          <a:pt x="0" y="1"/>
                        </a:moveTo>
                        <a:lnTo>
                          <a:pt x="1" y="2"/>
                        </a:lnTo>
                        <a:lnTo>
                          <a:pt x="7" y="3"/>
                        </a:lnTo>
                        <a:lnTo>
                          <a:pt x="7" y="2"/>
                        </a:lnTo>
                        <a:lnTo>
                          <a:pt x="5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0" name="Freeform 47"/>
                  <p:cNvSpPr>
                    <a:spLocks/>
                  </p:cNvSpPr>
                  <p:nvPr/>
                </p:nvSpPr>
                <p:spPr bwMode="auto">
                  <a:xfrm>
                    <a:off x="661" y="2102"/>
                    <a:ext cx="9" cy="2"/>
                  </a:xfrm>
                  <a:custGeom>
                    <a:avLst/>
                    <a:gdLst>
                      <a:gd name="T0" fmla="*/ 0 w 8"/>
                      <a:gd name="T1" fmla="*/ 0 h 3"/>
                      <a:gd name="T2" fmla="*/ 1 w 8"/>
                      <a:gd name="T3" fmla="*/ 1 h 3"/>
                      <a:gd name="T4" fmla="*/ 407 w 8"/>
                      <a:gd name="T5" fmla="*/ 1 h 3"/>
                      <a:gd name="T6" fmla="*/ 407 w 8"/>
                      <a:gd name="T7" fmla="*/ 1 h 3"/>
                      <a:gd name="T8" fmla="*/ 361 w 8"/>
                      <a:gd name="T9" fmla="*/ 0 h 3"/>
                      <a:gd name="T10" fmla="*/ 0 w 8"/>
                      <a:gd name="T11" fmla="*/ 0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3"/>
                      <a:gd name="T20" fmla="*/ 8 w 8"/>
                      <a:gd name="T21" fmla="*/ 3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3">
                        <a:moveTo>
                          <a:pt x="0" y="0"/>
                        </a:moveTo>
                        <a:lnTo>
                          <a:pt x="1" y="1"/>
                        </a:lnTo>
                        <a:lnTo>
                          <a:pt x="8" y="3"/>
                        </a:lnTo>
                        <a:lnTo>
                          <a:pt x="8" y="1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1" name="Freeform 48"/>
                  <p:cNvSpPr>
                    <a:spLocks/>
                  </p:cNvSpPr>
                  <p:nvPr/>
                </p:nvSpPr>
                <p:spPr bwMode="auto">
                  <a:xfrm>
                    <a:off x="670" y="2102"/>
                    <a:ext cx="9" cy="7"/>
                  </a:xfrm>
                  <a:custGeom>
                    <a:avLst/>
                    <a:gdLst>
                      <a:gd name="T0" fmla="*/ 0 w 9"/>
                      <a:gd name="T1" fmla="*/ 0 h 4"/>
                      <a:gd name="T2" fmla="*/ 2 w 9"/>
                      <a:gd name="T3" fmla="*/ 238536340 h 4"/>
                      <a:gd name="T4" fmla="*/ 9 w 9"/>
                      <a:gd name="T5" fmla="*/ 730517541 h 4"/>
                      <a:gd name="T6" fmla="*/ 9 w 9"/>
                      <a:gd name="T7" fmla="*/ 238536340 h 4"/>
                      <a:gd name="T8" fmla="*/ 6 w 9"/>
                      <a:gd name="T9" fmla="*/ 0 h 4"/>
                      <a:gd name="T10" fmla="*/ 0 w 9"/>
                      <a:gd name="T11" fmla="*/ 0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9"/>
                      <a:gd name="T19" fmla="*/ 0 h 4"/>
                      <a:gd name="T20" fmla="*/ 9 w 9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9" h="4">
                        <a:moveTo>
                          <a:pt x="0" y="0"/>
                        </a:moveTo>
                        <a:lnTo>
                          <a:pt x="2" y="1"/>
                        </a:lnTo>
                        <a:lnTo>
                          <a:pt x="9" y="4"/>
                        </a:lnTo>
                        <a:lnTo>
                          <a:pt x="9" y="1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2" name="Freeform 49"/>
                  <p:cNvSpPr>
                    <a:spLocks/>
                  </p:cNvSpPr>
                  <p:nvPr/>
                </p:nvSpPr>
                <p:spPr bwMode="auto">
                  <a:xfrm>
                    <a:off x="679" y="2107"/>
                    <a:ext cx="10" cy="5"/>
                  </a:xfrm>
                  <a:custGeom>
                    <a:avLst/>
                    <a:gdLst>
                      <a:gd name="T0" fmla="*/ 0 w 7"/>
                      <a:gd name="T1" fmla="*/ 1 h 4"/>
                      <a:gd name="T2" fmla="*/ 1 w 7"/>
                      <a:gd name="T3" fmla="*/ 6161 h 4"/>
                      <a:gd name="T4" fmla="*/ 1277047 w 7"/>
                      <a:gd name="T5" fmla="*/ 7701 h 4"/>
                      <a:gd name="T6" fmla="*/ 1277047 w 7"/>
                      <a:gd name="T7" fmla="*/ 1 h 4"/>
                      <a:gd name="T8" fmla="*/ 1216580 w 7"/>
                      <a:gd name="T9" fmla="*/ 0 h 4"/>
                      <a:gd name="T10" fmla="*/ 0 w 7"/>
                      <a:gd name="T11" fmla="*/ 1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4"/>
                      <a:gd name="T20" fmla="*/ 7 w 7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4">
                        <a:moveTo>
                          <a:pt x="0" y="1"/>
                        </a:moveTo>
                        <a:lnTo>
                          <a:pt x="1" y="3"/>
                        </a:lnTo>
                        <a:lnTo>
                          <a:pt x="7" y="4"/>
                        </a:lnTo>
                        <a:lnTo>
                          <a:pt x="7" y="1"/>
                        </a:lnTo>
                        <a:lnTo>
                          <a:pt x="6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3" name="Freeform 50"/>
                  <p:cNvSpPr>
                    <a:spLocks/>
                  </p:cNvSpPr>
                  <p:nvPr/>
                </p:nvSpPr>
                <p:spPr bwMode="auto">
                  <a:xfrm>
                    <a:off x="687" y="2107"/>
                    <a:ext cx="7" cy="7"/>
                  </a:xfrm>
                  <a:custGeom>
                    <a:avLst/>
                    <a:gdLst>
                      <a:gd name="T0" fmla="*/ 0 w 7"/>
                      <a:gd name="T1" fmla="*/ 183946 h 5"/>
                      <a:gd name="T2" fmla="*/ 1 w 7"/>
                      <a:gd name="T3" fmla="*/ 257524 h 5"/>
                      <a:gd name="T4" fmla="*/ 7 w 7"/>
                      <a:gd name="T5" fmla="*/ 483426 h 5"/>
                      <a:gd name="T6" fmla="*/ 7 w 7"/>
                      <a:gd name="T7" fmla="*/ 257524 h 5"/>
                      <a:gd name="T8" fmla="*/ 6 w 7"/>
                      <a:gd name="T9" fmla="*/ 0 h 5"/>
                      <a:gd name="T10" fmla="*/ 0 w 7"/>
                      <a:gd name="T11" fmla="*/ 183946 h 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5"/>
                      <a:gd name="T20" fmla="*/ 7 w 7"/>
                      <a:gd name="T21" fmla="*/ 5 h 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5">
                        <a:moveTo>
                          <a:pt x="0" y="2"/>
                        </a:moveTo>
                        <a:lnTo>
                          <a:pt x="1" y="3"/>
                        </a:lnTo>
                        <a:lnTo>
                          <a:pt x="7" y="5"/>
                        </a:lnTo>
                        <a:lnTo>
                          <a:pt x="7" y="3"/>
                        </a:lnTo>
                        <a:lnTo>
                          <a:pt x="6" y="0"/>
                        </a:lnTo>
                        <a:lnTo>
                          <a:pt x="0" y="2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4" name="Freeform 51"/>
                  <p:cNvSpPr>
                    <a:spLocks/>
                  </p:cNvSpPr>
                  <p:nvPr/>
                </p:nvSpPr>
                <p:spPr bwMode="auto">
                  <a:xfrm>
                    <a:off x="696" y="2112"/>
                    <a:ext cx="7" cy="0"/>
                  </a:xfrm>
                  <a:custGeom>
                    <a:avLst/>
                    <a:gdLst>
                      <a:gd name="T0" fmla="*/ 0 w 8"/>
                      <a:gd name="T1" fmla="*/ 0 h 3"/>
                      <a:gd name="T2" fmla="*/ 1 w 8"/>
                      <a:gd name="T3" fmla="*/ 0 h 3"/>
                      <a:gd name="T4" fmla="*/ 4 w 8"/>
                      <a:gd name="T5" fmla="*/ 0 h 3"/>
                      <a:gd name="T6" fmla="*/ 4 w 8"/>
                      <a:gd name="T7" fmla="*/ 0 h 3"/>
                      <a:gd name="T8" fmla="*/ 4 w 8"/>
                      <a:gd name="T9" fmla="*/ 0 h 3"/>
                      <a:gd name="T10" fmla="*/ 0 w 8"/>
                      <a:gd name="T11" fmla="*/ 0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3"/>
                      <a:gd name="T20" fmla="*/ 8 w 8"/>
                      <a:gd name="T21" fmla="*/ 0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3">
                        <a:moveTo>
                          <a:pt x="0" y="0"/>
                        </a:moveTo>
                        <a:lnTo>
                          <a:pt x="1" y="1"/>
                        </a:lnTo>
                        <a:lnTo>
                          <a:pt x="8" y="3"/>
                        </a:lnTo>
                        <a:lnTo>
                          <a:pt x="8" y="1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5" name="Freeform 52"/>
                  <p:cNvSpPr>
                    <a:spLocks/>
                  </p:cNvSpPr>
                  <p:nvPr/>
                </p:nvSpPr>
                <p:spPr bwMode="auto">
                  <a:xfrm>
                    <a:off x="706" y="2112"/>
                    <a:ext cx="7" cy="5"/>
                  </a:xfrm>
                  <a:custGeom>
                    <a:avLst/>
                    <a:gdLst>
                      <a:gd name="T0" fmla="*/ 0 w 7"/>
                      <a:gd name="T1" fmla="*/ 1 h 4"/>
                      <a:gd name="T2" fmla="*/ 1 w 7"/>
                      <a:gd name="T3" fmla="*/ 4929 h 4"/>
                      <a:gd name="T4" fmla="*/ 7 w 7"/>
                      <a:gd name="T5" fmla="*/ 7701 h 4"/>
                      <a:gd name="T6" fmla="*/ 7 w 7"/>
                      <a:gd name="T7" fmla="*/ 1 h 4"/>
                      <a:gd name="T8" fmla="*/ 5 w 7"/>
                      <a:gd name="T9" fmla="*/ 0 h 4"/>
                      <a:gd name="T10" fmla="*/ 0 w 7"/>
                      <a:gd name="T11" fmla="*/ 1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4"/>
                      <a:gd name="T20" fmla="*/ 7 w 7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4">
                        <a:moveTo>
                          <a:pt x="0" y="1"/>
                        </a:moveTo>
                        <a:lnTo>
                          <a:pt x="1" y="2"/>
                        </a:lnTo>
                        <a:lnTo>
                          <a:pt x="7" y="4"/>
                        </a:lnTo>
                        <a:lnTo>
                          <a:pt x="7" y="1"/>
                        </a:lnTo>
                        <a:lnTo>
                          <a:pt x="5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6" name="Freeform 53"/>
                  <p:cNvSpPr>
                    <a:spLocks/>
                  </p:cNvSpPr>
                  <p:nvPr/>
                </p:nvSpPr>
                <p:spPr bwMode="auto">
                  <a:xfrm>
                    <a:off x="713" y="2114"/>
                    <a:ext cx="10" cy="2"/>
                  </a:xfrm>
                  <a:custGeom>
                    <a:avLst/>
                    <a:gdLst>
                      <a:gd name="T0" fmla="*/ 0 w 8"/>
                      <a:gd name="T1" fmla="*/ 1 h 4"/>
                      <a:gd name="T2" fmla="*/ 1 w 8"/>
                      <a:gd name="T3" fmla="*/ 1 h 4"/>
                      <a:gd name="T4" fmla="*/ 16024 w 8"/>
                      <a:gd name="T5" fmla="*/ 1 h 4"/>
                      <a:gd name="T6" fmla="*/ 16024 w 8"/>
                      <a:gd name="T7" fmla="*/ 1 h 4"/>
                      <a:gd name="T8" fmla="*/ 10838 w 8"/>
                      <a:gd name="T9" fmla="*/ 0 h 4"/>
                      <a:gd name="T10" fmla="*/ 0 w 8"/>
                      <a:gd name="T11" fmla="*/ 1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4"/>
                      <a:gd name="T20" fmla="*/ 8 w 8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4">
                        <a:moveTo>
                          <a:pt x="0" y="1"/>
                        </a:moveTo>
                        <a:lnTo>
                          <a:pt x="1" y="3"/>
                        </a:lnTo>
                        <a:lnTo>
                          <a:pt x="8" y="4"/>
                        </a:lnTo>
                        <a:lnTo>
                          <a:pt x="8" y="3"/>
                        </a:lnTo>
                        <a:lnTo>
                          <a:pt x="6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7" name="Freeform 54"/>
                  <p:cNvSpPr>
                    <a:spLocks/>
                  </p:cNvSpPr>
                  <p:nvPr/>
                </p:nvSpPr>
                <p:spPr bwMode="auto">
                  <a:xfrm>
                    <a:off x="726" y="2114"/>
                    <a:ext cx="7" cy="5"/>
                  </a:xfrm>
                  <a:custGeom>
                    <a:avLst/>
                    <a:gdLst>
                      <a:gd name="T0" fmla="*/ 0 w 7"/>
                      <a:gd name="T1" fmla="*/ 2 h 5"/>
                      <a:gd name="T2" fmla="*/ 1 w 7"/>
                      <a:gd name="T3" fmla="*/ 3 h 5"/>
                      <a:gd name="T4" fmla="*/ 7 w 7"/>
                      <a:gd name="T5" fmla="*/ 5 h 5"/>
                      <a:gd name="T6" fmla="*/ 7 w 7"/>
                      <a:gd name="T7" fmla="*/ 3 h 5"/>
                      <a:gd name="T8" fmla="*/ 5 w 7"/>
                      <a:gd name="T9" fmla="*/ 0 h 5"/>
                      <a:gd name="T10" fmla="*/ 0 w 7"/>
                      <a:gd name="T11" fmla="*/ 2 h 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5"/>
                      <a:gd name="T20" fmla="*/ 7 w 7"/>
                      <a:gd name="T21" fmla="*/ 5 h 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5">
                        <a:moveTo>
                          <a:pt x="0" y="2"/>
                        </a:moveTo>
                        <a:lnTo>
                          <a:pt x="1" y="3"/>
                        </a:lnTo>
                        <a:lnTo>
                          <a:pt x="7" y="5"/>
                        </a:lnTo>
                        <a:lnTo>
                          <a:pt x="7" y="3"/>
                        </a:lnTo>
                        <a:lnTo>
                          <a:pt x="5" y="0"/>
                        </a:lnTo>
                        <a:lnTo>
                          <a:pt x="0" y="2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8" name="Freeform 55"/>
                  <p:cNvSpPr>
                    <a:spLocks/>
                  </p:cNvSpPr>
                  <p:nvPr/>
                </p:nvSpPr>
                <p:spPr bwMode="auto">
                  <a:xfrm>
                    <a:off x="732" y="2116"/>
                    <a:ext cx="9" cy="5"/>
                  </a:xfrm>
                  <a:custGeom>
                    <a:avLst/>
                    <a:gdLst>
                      <a:gd name="T0" fmla="*/ 0 w 8"/>
                      <a:gd name="T1" fmla="*/ 0 h 3"/>
                      <a:gd name="T2" fmla="*/ 1 w 8"/>
                      <a:gd name="T3" fmla="*/ 60525013 h 3"/>
                      <a:gd name="T4" fmla="*/ 407 w 8"/>
                      <a:gd name="T5" fmla="*/ 100875022 h 3"/>
                      <a:gd name="T6" fmla="*/ 407 w 8"/>
                      <a:gd name="T7" fmla="*/ 36315008 h 3"/>
                      <a:gd name="T8" fmla="*/ 361 w 8"/>
                      <a:gd name="T9" fmla="*/ 0 h 3"/>
                      <a:gd name="T10" fmla="*/ 0 w 8"/>
                      <a:gd name="T11" fmla="*/ 0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3"/>
                      <a:gd name="T20" fmla="*/ 8 w 8"/>
                      <a:gd name="T21" fmla="*/ 3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3">
                        <a:moveTo>
                          <a:pt x="0" y="0"/>
                        </a:moveTo>
                        <a:lnTo>
                          <a:pt x="1" y="2"/>
                        </a:lnTo>
                        <a:lnTo>
                          <a:pt x="8" y="3"/>
                        </a:lnTo>
                        <a:lnTo>
                          <a:pt x="8" y="1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9" name="Freeform 56"/>
                  <p:cNvSpPr>
                    <a:spLocks/>
                  </p:cNvSpPr>
                  <p:nvPr/>
                </p:nvSpPr>
                <p:spPr bwMode="auto">
                  <a:xfrm>
                    <a:off x="743" y="2119"/>
                    <a:ext cx="7" cy="2"/>
                  </a:xfrm>
                  <a:custGeom>
                    <a:avLst/>
                    <a:gdLst>
                      <a:gd name="T0" fmla="*/ 0 w 7"/>
                      <a:gd name="T1" fmla="*/ 1 h 3"/>
                      <a:gd name="T2" fmla="*/ 0 w 7"/>
                      <a:gd name="T3" fmla="*/ 1 h 3"/>
                      <a:gd name="T4" fmla="*/ 7 w 7"/>
                      <a:gd name="T5" fmla="*/ 1 h 3"/>
                      <a:gd name="T6" fmla="*/ 7 w 7"/>
                      <a:gd name="T7" fmla="*/ 1 h 3"/>
                      <a:gd name="T8" fmla="*/ 4 w 7"/>
                      <a:gd name="T9" fmla="*/ 0 h 3"/>
                      <a:gd name="T10" fmla="*/ 0 w 7"/>
                      <a:gd name="T11" fmla="*/ 1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3"/>
                      <a:gd name="T20" fmla="*/ 7 w 7"/>
                      <a:gd name="T21" fmla="*/ 3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3">
                        <a:moveTo>
                          <a:pt x="0" y="1"/>
                        </a:moveTo>
                        <a:lnTo>
                          <a:pt x="0" y="2"/>
                        </a:lnTo>
                        <a:lnTo>
                          <a:pt x="7" y="3"/>
                        </a:lnTo>
                        <a:lnTo>
                          <a:pt x="7" y="2"/>
                        </a:lnTo>
                        <a:lnTo>
                          <a:pt x="4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0" name="Freeform 57"/>
                  <p:cNvSpPr>
                    <a:spLocks/>
                  </p:cNvSpPr>
                  <p:nvPr/>
                </p:nvSpPr>
                <p:spPr bwMode="auto">
                  <a:xfrm>
                    <a:off x="752" y="2119"/>
                    <a:ext cx="7" cy="7"/>
                  </a:xfrm>
                  <a:custGeom>
                    <a:avLst/>
                    <a:gdLst>
                      <a:gd name="T0" fmla="*/ 0 w 8"/>
                      <a:gd name="T1" fmla="*/ 1 h 5"/>
                      <a:gd name="T2" fmla="*/ 1 w 8"/>
                      <a:gd name="T3" fmla="*/ 183946 h 5"/>
                      <a:gd name="T4" fmla="*/ 4 w 8"/>
                      <a:gd name="T5" fmla="*/ 483426 h 5"/>
                      <a:gd name="T6" fmla="*/ 4 w 8"/>
                      <a:gd name="T7" fmla="*/ 183946 h 5"/>
                      <a:gd name="T8" fmla="*/ 4 w 8"/>
                      <a:gd name="T9" fmla="*/ 0 h 5"/>
                      <a:gd name="T10" fmla="*/ 0 w 8"/>
                      <a:gd name="T11" fmla="*/ 1 h 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5"/>
                      <a:gd name="T20" fmla="*/ 8 w 8"/>
                      <a:gd name="T21" fmla="*/ 5 h 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5">
                        <a:moveTo>
                          <a:pt x="0" y="1"/>
                        </a:moveTo>
                        <a:lnTo>
                          <a:pt x="1" y="2"/>
                        </a:lnTo>
                        <a:lnTo>
                          <a:pt x="8" y="5"/>
                        </a:lnTo>
                        <a:lnTo>
                          <a:pt x="8" y="2"/>
                        </a:lnTo>
                        <a:lnTo>
                          <a:pt x="6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1" name="Freeform 58"/>
                  <p:cNvSpPr>
                    <a:spLocks/>
                  </p:cNvSpPr>
                  <p:nvPr/>
                </p:nvSpPr>
                <p:spPr bwMode="auto">
                  <a:xfrm>
                    <a:off x="758" y="2121"/>
                    <a:ext cx="9" cy="5"/>
                  </a:xfrm>
                  <a:custGeom>
                    <a:avLst/>
                    <a:gdLst>
                      <a:gd name="T0" fmla="*/ 0 w 8"/>
                      <a:gd name="T1" fmla="*/ 1 h 5"/>
                      <a:gd name="T2" fmla="*/ 1 w 8"/>
                      <a:gd name="T3" fmla="*/ 4 h 5"/>
                      <a:gd name="T4" fmla="*/ 407 w 8"/>
                      <a:gd name="T5" fmla="*/ 5 h 5"/>
                      <a:gd name="T6" fmla="*/ 407 w 8"/>
                      <a:gd name="T7" fmla="*/ 3 h 5"/>
                      <a:gd name="T8" fmla="*/ 361 w 8"/>
                      <a:gd name="T9" fmla="*/ 0 h 5"/>
                      <a:gd name="T10" fmla="*/ 0 w 8"/>
                      <a:gd name="T11" fmla="*/ 1 h 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5"/>
                      <a:gd name="T20" fmla="*/ 8 w 8"/>
                      <a:gd name="T21" fmla="*/ 5 h 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5">
                        <a:moveTo>
                          <a:pt x="0" y="1"/>
                        </a:moveTo>
                        <a:lnTo>
                          <a:pt x="1" y="4"/>
                        </a:lnTo>
                        <a:lnTo>
                          <a:pt x="8" y="5"/>
                        </a:lnTo>
                        <a:lnTo>
                          <a:pt x="8" y="3"/>
                        </a:lnTo>
                        <a:lnTo>
                          <a:pt x="6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</p:grpSp>
            <p:sp>
              <p:nvSpPr>
                <p:cNvPr id="668" name="Freeform 59"/>
                <p:cNvSpPr>
                  <a:spLocks/>
                </p:cNvSpPr>
                <p:nvPr/>
              </p:nvSpPr>
              <p:spPr bwMode="auto">
                <a:xfrm>
                  <a:off x="644" y="1998"/>
                  <a:ext cx="7" cy="105"/>
                </a:xfrm>
                <a:custGeom>
                  <a:avLst/>
                  <a:gdLst>
                    <a:gd name="T0" fmla="*/ 0 w 7"/>
                    <a:gd name="T1" fmla="*/ 0 h 100"/>
                    <a:gd name="T2" fmla="*/ 0 w 7"/>
                    <a:gd name="T3" fmla="*/ 513 h 100"/>
                    <a:gd name="T4" fmla="*/ 7 w 7"/>
                    <a:gd name="T5" fmla="*/ 526 h 100"/>
                    <a:gd name="T6" fmla="*/ 7 w 7"/>
                    <a:gd name="T7" fmla="*/ 0 h 100"/>
                    <a:gd name="T8" fmla="*/ 0 w 7"/>
                    <a:gd name="T9" fmla="*/ 0 h 1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0"/>
                    <a:gd name="T17" fmla="*/ 7 w 7"/>
                    <a:gd name="T18" fmla="*/ 100 h 10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0">
                      <a:moveTo>
                        <a:pt x="0" y="0"/>
                      </a:moveTo>
                      <a:lnTo>
                        <a:pt x="0" y="98"/>
                      </a:lnTo>
                      <a:lnTo>
                        <a:pt x="7" y="100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69" name="Freeform 60"/>
                <p:cNvSpPr>
                  <a:spLocks/>
                </p:cNvSpPr>
                <p:nvPr/>
              </p:nvSpPr>
              <p:spPr bwMode="auto">
                <a:xfrm>
                  <a:off x="653" y="2088"/>
                  <a:ext cx="5" cy="14"/>
                </a:xfrm>
                <a:custGeom>
                  <a:avLst/>
                  <a:gdLst>
                    <a:gd name="T0" fmla="*/ 0 w 6"/>
                    <a:gd name="T1" fmla="*/ 0 h 14"/>
                    <a:gd name="T2" fmla="*/ 0 w 6"/>
                    <a:gd name="T3" fmla="*/ 13 h 14"/>
                    <a:gd name="T4" fmla="*/ 3 w 6"/>
                    <a:gd name="T5" fmla="*/ 14 h 14"/>
                    <a:gd name="T6" fmla="*/ 3 w 6"/>
                    <a:gd name="T7" fmla="*/ 1 h 14"/>
                    <a:gd name="T8" fmla="*/ 0 w 6"/>
                    <a:gd name="T9" fmla="*/ 0 h 1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14"/>
                    <a:gd name="T17" fmla="*/ 6 w 6"/>
                    <a:gd name="T18" fmla="*/ 14 h 1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14">
                      <a:moveTo>
                        <a:pt x="0" y="0"/>
                      </a:moveTo>
                      <a:lnTo>
                        <a:pt x="0" y="13"/>
                      </a:lnTo>
                      <a:lnTo>
                        <a:pt x="6" y="14"/>
                      </a:lnTo>
                      <a:lnTo>
                        <a:pt x="6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0" name="Freeform 61"/>
                <p:cNvSpPr>
                  <a:spLocks/>
                </p:cNvSpPr>
                <p:nvPr/>
              </p:nvSpPr>
              <p:spPr bwMode="auto">
                <a:xfrm>
                  <a:off x="661" y="2000"/>
                  <a:ext cx="7" cy="102"/>
                </a:xfrm>
                <a:custGeom>
                  <a:avLst/>
                  <a:gdLst>
                    <a:gd name="T0" fmla="*/ 0 w 7"/>
                    <a:gd name="T1" fmla="*/ 0 h 102"/>
                    <a:gd name="T2" fmla="*/ 0 w 7"/>
                    <a:gd name="T3" fmla="*/ 101 h 102"/>
                    <a:gd name="T4" fmla="*/ 7 w 7"/>
                    <a:gd name="T5" fmla="*/ 102 h 102"/>
                    <a:gd name="T6" fmla="*/ 7 w 7"/>
                    <a:gd name="T7" fmla="*/ 0 h 102"/>
                    <a:gd name="T8" fmla="*/ 0 w 7"/>
                    <a:gd name="T9" fmla="*/ 0 h 10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2"/>
                    <a:gd name="T17" fmla="*/ 7 w 7"/>
                    <a:gd name="T18" fmla="*/ 102 h 10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2">
                      <a:moveTo>
                        <a:pt x="0" y="0"/>
                      </a:moveTo>
                      <a:lnTo>
                        <a:pt x="0" y="101"/>
                      </a:lnTo>
                      <a:lnTo>
                        <a:pt x="7" y="102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1" name="Freeform 62"/>
                <p:cNvSpPr>
                  <a:spLocks/>
                </p:cNvSpPr>
                <p:nvPr/>
              </p:nvSpPr>
              <p:spPr bwMode="auto">
                <a:xfrm>
                  <a:off x="668" y="2000"/>
                  <a:ext cx="7" cy="107"/>
                </a:xfrm>
                <a:custGeom>
                  <a:avLst/>
                  <a:gdLst>
                    <a:gd name="T0" fmla="*/ 0 w 7"/>
                    <a:gd name="T1" fmla="*/ 0 h 103"/>
                    <a:gd name="T2" fmla="*/ 0 w 7"/>
                    <a:gd name="T3" fmla="*/ 370 h 103"/>
                    <a:gd name="T4" fmla="*/ 7 w 7"/>
                    <a:gd name="T5" fmla="*/ 377 h 103"/>
                    <a:gd name="T6" fmla="*/ 7 w 7"/>
                    <a:gd name="T7" fmla="*/ 0 h 103"/>
                    <a:gd name="T8" fmla="*/ 0 w 7"/>
                    <a:gd name="T9" fmla="*/ 0 h 10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3"/>
                    <a:gd name="T17" fmla="*/ 7 w 7"/>
                    <a:gd name="T18" fmla="*/ 103 h 10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3">
                      <a:moveTo>
                        <a:pt x="0" y="0"/>
                      </a:moveTo>
                      <a:lnTo>
                        <a:pt x="0" y="102"/>
                      </a:lnTo>
                      <a:lnTo>
                        <a:pt x="7" y="103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2" name="Freeform 63"/>
                <p:cNvSpPr>
                  <a:spLocks/>
                </p:cNvSpPr>
                <p:nvPr/>
              </p:nvSpPr>
              <p:spPr bwMode="auto">
                <a:xfrm>
                  <a:off x="679" y="2000"/>
                  <a:ext cx="7" cy="109"/>
                </a:xfrm>
                <a:custGeom>
                  <a:avLst/>
                  <a:gdLst>
                    <a:gd name="T0" fmla="*/ 0 w 6"/>
                    <a:gd name="T1" fmla="*/ 0 h 106"/>
                    <a:gd name="T2" fmla="*/ 0 w 6"/>
                    <a:gd name="T3" fmla="*/ 266 h 106"/>
                    <a:gd name="T4" fmla="*/ 1210 w 6"/>
                    <a:gd name="T5" fmla="*/ 274 h 106"/>
                    <a:gd name="T6" fmla="*/ 1210 w 6"/>
                    <a:gd name="T7" fmla="*/ 0 h 106"/>
                    <a:gd name="T8" fmla="*/ 0 w 6"/>
                    <a:gd name="T9" fmla="*/ 0 h 10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106"/>
                    <a:gd name="T17" fmla="*/ 6 w 6"/>
                    <a:gd name="T18" fmla="*/ 106 h 10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106">
                      <a:moveTo>
                        <a:pt x="0" y="0"/>
                      </a:moveTo>
                      <a:lnTo>
                        <a:pt x="0" y="103"/>
                      </a:lnTo>
                      <a:lnTo>
                        <a:pt x="6" y="106"/>
                      </a:lnTo>
                      <a:lnTo>
                        <a:pt x="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3" name="Freeform 64"/>
                <p:cNvSpPr>
                  <a:spLocks/>
                </p:cNvSpPr>
                <p:nvPr/>
              </p:nvSpPr>
              <p:spPr bwMode="auto">
                <a:xfrm>
                  <a:off x="687" y="2000"/>
                  <a:ext cx="7" cy="112"/>
                </a:xfrm>
                <a:custGeom>
                  <a:avLst/>
                  <a:gdLst>
                    <a:gd name="T0" fmla="*/ 0 w 7"/>
                    <a:gd name="T1" fmla="*/ 0 h 107"/>
                    <a:gd name="T2" fmla="*/ 0 w 7"/>
                    <a:gd name="T3" fmla="*/ 497 h 107"/>
                    <a:gd name="T4" fmla="*/ 7 w 7"/>
                    <a:gd name="T5" fmla="*/ 506 h 107"/>
                    <a:gd name="T6" fmla="*/ 7 w 7"/>
                    <a:gd name="T7" fmla="*/ 2 h 107"/>
                    <a:gd name="T8" fmla="*/ 0 w 7"/>
                    <a:gd name="T9" fmla="*/ 0 h 10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7"/>
                    <a:gd name="T17" fmla="*/ 7 w 7"/>
                    <a:gd name="T18" fmla="*/ 107 h 10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7">
                      <a:moveTo>
                        <a:pt x="0" y="0"/>
                      </a:moveTo>
                      <a:lnTo>
                        <a:pt x="0" y="106"/>
                      </a:lnTo>
                      <a:lnTo>
                        <a:pt x="7" y="107"/>
                      </a:lnTo>
                      <a:lnTo>
                        <a:pt x="7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4" name="Freeform 65"/>
                <p:cNvSpPr>
                  <a:spLocks/>
                </p:cNvSpPr>
                <p:nvPr/>
              </p:nvSpPr>
              <p:spPr bwMode="auto">
                <a:xfrm>
                  <a:off x="696" y="2002"/>
                  <a:ext cx="7" cy="107"/>
                </a:xfrm>
                <a:custGeom>
                  <a:avLst/>
                  <a:gdLst>
                    <a:gd name="T0" fmla="*/ 0 w 6"/>
                    <a:gd name="T1" fmla="*/ 0 h 106"/>
                    <a:gd name="T2" fmla="*/ 0 w 6"/>
                    <a:gd name="T3" fmla="*/ 268 h 106"/>
                    <a:gd name="T4" fmla="*/ 1210 w 6"/>
                    <a:gd name="T5" fmla="*/ 274 h 106"/>
                    <a:gd name="T6" fmla="*/ 1210 w 6"/>
                    <a:gd name="T7" fmla="*/ 0 h 106"/>
                    <a:gd name="T8" fmla="*/ 0 w 6"/>
                    <a:gd name="T9" fmla="*/ 0 h 10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106"/>
                    <a:gd name="T17" fmla="*/ 6 w 6"/>
                    <a:gd name="T18" fmla="*/ 106 h 10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106">
                      <a:moveTo>
                        <a:pt x="0" y="0"/>
                      </a:moveTo>
                      <a:lnTo>
                        <a:pt x="0" y="105"/>
                      </a:lnTo>
                      <a:lnTo>
                        <a:pt x="6" y="106"/>
                      </a:lnTo>
                      <a:lnTo>
                        <a:pt x="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5" name="Freeform 66"/>
                <p:cNvSpPr>
                  <a:spLocks/>
                </p:cNvSpPr>
                <p:nvPr/>
              </p:nvSpPr>
              <p:spPr bwMode="auto">
                <a:xfrm>
                  <a:off x="705" y="2002"/>
                  <a:ext cx="7" cy="107"/>
                </a:xfrm>
                <a:custGeom>
                  <a:avLst/>
                  <a:gdLst>
                    <a:gd name="T0" fmla="*/ 0 w 7"/>
                    <a:gd name="T1" fmla="*/ 0 h 107"/>
                    <a:gd name="T2" fmla="*/ 0 w 7"/>
                    <a:gd name="T3" fmla="*/ 196 h 107"/>
                    <a:gd name="T4" fmla="*/ 7 w 7"/>
                    <a:gd name="T5" fmla="*/ 197 h 107"/>
                    <a:gd name="T6" fmla="*/ 7 w 7"/>
                    <a:gd name="T7" fmla="*/ 0 h 107"/>
                    <a:gd name="T8" fmla="*/ 0 w 7"/>
                    <a:gd name="T9" fmla="*/ 0 h 10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7"/>
                    <a:gd name="T17" fmla="*/ 7 w 7"/>
                    <a:gd name="T18" fmla="*/ 107 h 10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7">
                      <a:moveTo>
                        <a:pt x="0" y="0"/>
                      </a:moveTo>
                      <a:lnTo>
                        <a:pt x="0" y="106"/>
                      </a:lnTo>
                      <a:lnTo>
                        <a:pt x="7" y="107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6" name="Freeform 67"/>
                <p:cNvSpPr>
                  <a:spLocks/>
                </p:cNvSpPr>
                <p:nvPr/>
              </p:nvSpPr>
              <p:spPr bwMode="auto">
                <a:xfrm>
                  <a:off x="713" y="2002"/>
                  <a:ext cx="7" cy="114"/>
                </a:xfrm>
                <a:custGeom>
                  <a:avLst/>
                  <a:gdLst>
                    <a:gd name="T0" fmla="*/ 0 w 7"/>
                    <a:gd name="T1" fmla="*/ 0 h 110"/>
                    <a:gd name="T2" fmla="*/ 0 w 7"/>
                    <a:gd name="T3" fmla="*/ 363 h 110"/>
                    <a:gd name="T4" fmla="*/ 7 w 7"/>
                    <a:gd name="T5" fmla="*/ 368 h 110"/>
                    <a:gd name="T6" fmla="*/ 7 w 7"/>
                    <a:gd name="T7" fmla="*/ 0 h 110"/>
                    <a:gd name="T8" fmla="*/ 0 w 7"/>
                    <a:gd name="T9" fmla="*/ 0 h 1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10"/>
                    <a:gd name="T17" fmla="*/ 7 w 7"/>
                    <a:gd name="T18" fmla="*/ 110 h 11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10">
                      <a:moveTo>
                        <a:pt x="0" y="0"/>
                      </a:moveTo>
                      <a:lnTo>
                        <a:pt x="0" y="108"/>
                      </a:lnTo>
                      <a:lnTo>
                        <a:pt x="7" y="110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7" name="Freeform 68"/>
                <p:cNvSpPr>
                  <a:spLocks/>
                </p:cNvSpPr>
                <p:nvPr/>
              </p:nvSpPr>
              <p:spPr bwMode="auto">
                <a:xfrm>
                  <a:off x="722" y="2002"/>
                  <a:ext cx="7" cy="114"/>
                </a:xfrm>
                <a:custGeom>
                  <a:avLst/>
                  <a:gdLst>
                    <a:gd name="T0" fmla="*/ 0 w 6"/>
                    <a:gd name="T1" fmla="*/ 0 h 111"/>
                    <a:gd name="T2" fmla="*/ 0 w 6"/>
                    <a:gd name="T3" fmla="*/ 271 h 111"/>
                    <a:gd name="T4" fmla="*/ 1210 w 6"/>
                    <a:gd name="T5" fmla="*/ 272 h 111"/>
                    <a:gd name="T6" fmla="*/ 1210 w 6"/>
                    <a:gd name="T7" fmla="*/ 0 h 111"/>
                    <a:gd name="T8" fmla="*/ 0 w 6"/>
                    <a:gd name="T9" fmla="*/ 0 h 1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111"/>
                    <a:gd name="T17" fmla="*/ 6 w 6"/>
                    <a:gd name="T18" fmla="*/ 111 h 11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111">
                      <a:moveTo>
                        <a:pt x="0" y="0"/>
                      </a:moveTo>
                      <a:lnTo>
                        <a:pt x="0" y="110"/>
                      </a:lnTo>
                      <a:lnTo>
                        <a:pt x="6" y="111"/>
                      </a:lnTo>
                      <a:lnTo>
                        <a:pt x="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8" name="Freeform 69"/>
                <p:cNvSpPr>
                  <a:spLocks/>
                </p:cNvSpPr>
                <p:nvPr/>
              </p:nvSpPr>
              <p:spPr bwMode="auto">
                <a:xfrm>
                  <a:off x="732" y="2002"/>
                  <a:ext cx="7" cy="114"/>
                </a:xfrm>
                <a:custGeom>
                  <a:avLst/>
                  <a:gdLst>
                    <a:gd name="T0" fmla="*/ 0 w 7"/>
                    <a:gd name="T1" fmla="*/ 0 h 111"/>
                    <a:gd name="T2" fmla="*/ 0 w 7"/>
                    <a:gd name="T3" fmla="*/ 488 h 111"/>
                    <a:gd name="T4" fmla="*/ 7 w 7"/>
                    <a:gd name="T5" fmla="*/ 491 h 111"/>
                    <a:gd name="T6" fmla="*/ 7 w 7"/>
                    <a:gd name="T7" fmla="*/ 0 h 111"/>
                    <a:gd name="T8" fmla="*/ 0 w 7"/>
                    <a:gd name="T9" fmla="*/ 0 h 1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11"/>
                    <a:gd name="T17" fmla="*/ 7 w 7"/>
                    <a:gd name="T18" fmla="*/ 111 h 11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11">
                      <a:moveTo>
                        <a:pt x="0" y="0"/>
                      </a:moveTo>
                      <a:lnTo>
                        <a:pt x="0" y="110"/>
                      </a:lnTo>
                      <a:lnTo>
                        <a:pt x="7" y="111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9" name="Rectangle 70"/>
                <p:cNvSpPr>
                  <a:spLocks noChangeArrowheads="1"/>
                </p:cNvSpPr>
                <p:nvPr/>
              </p:nvSpPr>
              <p:spPr bwMode="auto">
                <a:xfrm>
                  <a:off x="741" y="2002"/>
                  <a:ext cx="5" cy="114"/>
                </a:xfrm>
                <a:prstGeom prst="rect">
                  <a:avLst/>
                </a:pr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lnSpc>
                      <a:spcPct val="100000"/>
                    </a:lnSpc>
                    <a:spcBef>
                      <a:spcPct val="0"/>
                    </a:spcBef>
                    <a:defRPr/>
                  </a:pPr>
                  <a:endParaRPr lang="en-GB" sz="4000">
                    <a:latin typeface="+mn-lt"/>
                    <a:ea typeface="ＭＳ Ｐゴシック" pitchFamily="34" charset="-128"/>
                    <a:cs typeface="Arial" pitchFamily="34" charset="0"/>
                  </a:endParaRPr>
                </a:p>
              </p:txBody>
            </p:sp>
            <p:sp>
              <p:nvSpPr>
                <p:cNvPr id="680" name="Freeform 71"/>
                <p:cNvSpPr>
                  <a:spLocks/>
                </p:cNvSpPr>
                <p:nvPr/>
              </p:nvSpPr>
              <p:spPr bwMode="auto">
                <a:xfrm>
                  <a:off x="748" y="2002"/>
                  <a:ext cx="10" cy="114"/>
                </a:xfrm>
                <a:custGeom>
                  <a:avLst/>
                  <a:gdLst>
                    <a:gd name="T0" fmla="*/ 0 w 7"/>
                    <a:gd name="T1" fmla="*/ 0 h 114"/>
                    <a:gd name="T2" fmla="*/ 0 w 7"/>
                    <a:gd name="T3" fmla="*/ 200 h 114"/>
                    <a:gd name="T4" fmla="*/ 1277047 w 7"/>
                    <a:gd name="T5" fmla="*/ 201 h 114"/>
                    <a:gd name="T6" fmla="*/ 1277047 w 7"/>
                    <a:gd name="T7" fmla="*/ 0 h 114"/>
                    <a:gd name="T8" fmla="*/ 0 w 7"/>
                    <a:gd name="T9" fmla="*/ 0 h 11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14"/>
                    <a:gd name="T17" fmla="*/ 7 w 7"/>
                    <a:gd name="T18" fmla="*/ 114 h 11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14">
                      <a:moveTo>
                        <a:pt x="0" y="0"/>
                      </a:moveTo>
                      <a:lnTo>
                        <a:pt x="0" y="113"/>
                      </a:lnTo>
                      <a:lnTo>
                        <a:pt x="7" y="114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81" name="Freeform 72"/>
                <p:cNvSpPr>
                  <a:spLocks/>
                </p:cNvSpPr>
                <p:nvPr/>
              </p:nvSpPr>
              <p:spPr bwMode="auto">
                <a:xfrm>
                  <a:off x="758" y="2002"/>
                  <a:ext cx="7" cy="121"/>
                </a:xfrm>
                <a:custGeom>
                  <a:avLst/>
                  <a:gdLst>
                    <a:gd name="T0" fmla="*/ 0 w 7"/>
                    <a:gd name="T1" fmla="*/ 0 h 116"/>
                    <a:gd name="T2" fmla="*/ 0 w 7"/>
                    <a:gd name="T3" fmla="*/ 484 h 116"/>
                    <a:gd name="T4" fmla="*/ 7 w 7"/>
                    <a:gd name="T5" fmla="*/ 486 h 116"/>
                    <a:gd name="T6" fmla="*/ 7 w 7"/>
                    <a:gd name="T7" fmla="*/ 0 h 116"/>
                    <a:gd name="T8" fmla="*/ 0 w 7"/>
                    <a:gd name="T9" fmla="*/ 0 h 1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16"/>
                    <a:gd name="T17" fmla="*/ 7 w 7"/>
                    <a:gd name="T18" fmla="*/ 116 h 1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16">
                      <a:moveTo>
                        <a:pt x="0" y="0"/>
                      </a:moveTo>
                      <a:lnTo>
                        <a:pt x="0" y="114"/>
                      </a:lnTo>
                      <a:lnTo>
                        <a:pt x="7" y="116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82" name="Rectangle 73"/>
                <p:cNvSpPr>
                  <a:spLocks noChangeArrowheads="1"/>
                </p:cNvSpPr>
                <p:nvPr/>
              </p:nvSpPr>
              <p:spPr bwMode="auto">
                <a:xfrm>
                  <a:off x="653" y="2000"/>
                  <a:ext cx="5" cy="77"/>
                </a:xfrm>
                <a:prstGeom prst="rect">
                  <a:avLst/>
                </a:pr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lnSpc>
                      <a:spcPct val="100000"/>
                    </a:lnSpc>
                    <a:spcBef>
                      <a:spcPct val="0"/>
                    </a:spcBef>
                    <a:defRPr/>
                  </a:pPr>
                  <a:endParaRPr lang="en-GB" sz="4000">
                    <a:latin typeface="+mn-lt"/>
                    <a:ea typeface="ＭＳ Ｐゴシック" pitchFamily="34" charset="-128"/>
                    <a:cs typeface="Arial" pitchFamily="34" charset="0"/>
                  </a:endParaRPr>
                </a:p>
              </p:txBody>
            </p:sp>
            <p:sp>
              <p:nvSpPr>
                <p:cNvPr id="683" name="Freeform 74"/>
                <p:cNvSpPr>
                  <a:spLocks/>
                </p:cNvSpPr>
                <p:nvPr/>
              </p:nvSpPr>
              <p:spPr bwMode="auto">
                <a:xfrm>
                  <a:off x="653" y="2086"/>
                  <a:ext cx="7" cy="2"/>
                </a:xfrm>
                <a:custGeom>
                  <a:avLst/>
                  <a:gdLst>
                    <a:gd name="T0" fmla="*/ 0 w 7"/>
                    <a:gd name="T1" fmla="*/ 2 h 2"/>
                    <a:gd name="T2" fmla="*/ 6 w 7"/>
                    <a:gd name="T3" fmla="*/ 2 h 2"/>
                    <a:gd name="T4" fmla="*/ 7 w 7"/>
                    <a:gd name="T5" fmla="*/ 1 h 2"/>
                    <a:gd name="T6" fmla="*/ 0 w 7"/>
                    <a:gd name="T7" fmla="*/ 0 h 2"/>
                    <a:gd name="T8" fmla="*/ 0 w 7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2"/>
                    <a:gd name="T17" fmla="*/ 7 w 7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2">
                      <a:moveTo>
                        <a:pt x="0" y="2"/>
                      </a:moveTo>
                      <a:lnTo>
                        <a:pt x="6" y="2"/>
                      </a:lnTo>
                      <a:lnTo>
                        <a:pt x="7" y="1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84" name="Freeform 75"/>
                <p:cNvSpPr>
                  <a:spLocks/>
                </p:cNvSpPr>
                <p:nvPr/>
              </p:nvSpPr>
              <p:spPr bwMode="auto">
                <a:xfrm>
                  <a:off x="653" y="2074"/>
                  <a:ext cx="7" cy="2"/>
                </a:xfrm>
                <a:custGeom>
                  <a:avLst/>
                  <a:gdLst>
                    <a:gd name="T0" fmla="*/ 6 w 7"/>
                    <a:gd name="T1" fmla="*/ 0 h 2"/>
                    <a:gd name="T2" fmla="*/ 0 w 7"/>
                    <a:gd name="T3" fmla="*/ 0 h 2"/>
                    <a:gd name="T4" fmla="*/ 1 w 7"/>
                    <a:gd name="T5" fmla="*/ 1 h 2"/>
                    <a:gd name="T6" fmla="*/ 7 w 7"/>
                    <a:gd name="T7" fmla="*/ 2 h 2"/>
                    <a:gd name="T8" fmla="*/ 6 w 7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2"/>
                    <a:gd name="T17" fmla="*/ 7 w 7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2">
                      <a:moveTo>
                        <a:pt x="6" y="0"/>
                      </a:move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7" y="2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85" name="Freeform 76"/>
                <p:cNvSpPr>
                  <a:spLocks/>
                </p:cNvSpPr>
                <p:nvPr/>
              </p:nvSpPr>
              <p:spPr bwMode="auto">
                <a:xfrm>
                  <a:off x="653" y="2086"/>
                  <a:ext cx="5" cy="0"/>
                </a:xfrm>
                <a:custGeom>
                  <a:avLst/>
                  <a:gdLst>
                    <a:gd name="T0" fmla="*/ 0 w 5"/>
                    <a:gd name="T1" fmla="*/ 0 h 3"/>
                    <a:gd name="T2" fmla="*/ 0 w 5"/>
                    <a:gd name="T3" fmla="*/ 0 h 3"/>
                    <a:gd name="T4" fmla="*/ 5 w 5"/>
                    <a:gd name="T5" fmla="*/ 0 h 3"/>
                    <a:gd name="T6" fmla="*/ 5 w 5"/>
                    <a:gd name="T7" fmla="*/ 0 h 3"/>
                    <a:gd name="T8" fmla="*/ 0 w 5"/>
                    <a:gd name="T9" fmla="*/ 0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"/>
                    <a:gd name="T16" fmla="*/ 0 h 3"/>
                    <a:gd name="T17" fmla="*/ 5 w 5"/>
                    <a:gd name="T18" fmla="*/ 0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" h="3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0202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86" name="Freeform 77"/>
                <p:cNvSpPr>
                  <a:spLocks/>
                </p:cNvSpPr>
                <p:nvPr/>
              </p:nvSpPr>
              <p:spPr bwMode="auto">
                <a:xfrm>
                  <a:off x="765" y="1998"/>
                  <a:ext cx="3" cy="133"/>
                </a:xfrm>
                <a:custGeom>
                  <a:avLst/>
                  <a:gdLst>
                    <a:gd name="T0" fmla="*/ 0 w 1"/>
                    <a:gd name="T1" fmla="*/ 611 h 127"/>
                    <a:gd name="T2" fmla="*/ 0 w 1"/>
                    <a:gd name="T3" fmla="*/ 593 h 127"/>
                    <a:gd name="T4" fmla="*/ 0 w 1"/>
                    <a:gd name="T5" fmla="*/ 0 h 127"/>
                    <a:gd name="T6" fmla="*/ 0 w 1"/>
                    <a:gd name="T7" fmla="*/ 0 h 127"/>
                    <a:gd name="T8" fmla="*/ 0 w 1"/>
                    <a:gd name="T9" fmla="*/ 611 h 1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"/>
                    <a:gd name="T16" fmla="*/ 0 h 127"/>
                    <a:gd name="T17" fmla="*/ 1 w 1"/>
                    <a:gd name="T18" fmla="*/ 127 h 12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" h="127">
                      <a:moveTo>
                        <a:pt x="0" y="127"/>
                      </a:moveTo>
                      <a:lnTo>
                        <a:pt x="0" y="124"/>
                      </a:lnTo>
                      <a:lnTo>
                        <a:pt x="0" y="0"/>
                      </a:lnTo>
                      <a:lnTo>
                        <a:pt x="0" y="127"/>
                      </a:lnTo>
                      <a:close/>
                    </a:path>
                  </a:pathLst>
                </a:custGeom>
                <a:solidFill>
                  <a:srgbClr val="A0A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87" name="Freeform 78"/>
                <p:cNvSpPr>
                  <a:spLocks/>
                </p:cNvSpPr>
                <p:nvPr/>
              </p:nvSpPr>
              <p:spPr bwMode="auto">
                <a:xfrm>
                  <a:off x="641" y="1995"/>
                  <a:ext cx="3" cy="107"/>
                </a:xfrm>
                <a:custGeom>
                  <a:avLst/>
                  <a:gdLst>
                    <a:gd name="T0" fmla="*/ 0 w 1"/>
                    <a:gd name="T1" fmla="*/ 0 h 107"/>
                    <a:gd name="T2" fmla="*/ 0 w 1"/>
                    <a:gd name="T3" fmla="*/ 197 h 107"/>
                    <a:gd name="T4" fmla="*/ 0 w 1"/>
                    <a:gd name="T5" fmla="*/ 196 h 107"/>
                    <a:gd name="T6" fmla="*/ 0 w 1"/>
                    <a:gd name="T7" fmla="*/ 1 h 107"/>
                    <a:gd name="T8" fmla="*/ 0 w 1"/>
                    <a:gd name="T9" fmla="*/ 0 h 10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"/>
                    <a:gd name="T16" fmla="*/ 0 h 107"/>
                    <a:gd name="T17" fmla="*/ 1 w 1"/>
                    <a:gd name="T18" fmla="*/ 107 h 10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" h="107">
                      <a:moveTo>
                        <a:pt x="0" y="0"/>
                      </a:moveTo>
                      <a:lnTo>
                        <a:pt x="0" y="107"/>
                      </a:lnTo>
                      <a:lnTo>
                        <a:pt x="0" y="106"/>
                      </a:lnTo>
                      <a:lnTo>
                        <a:pt x="0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336" name="Freeform 79"/>
            <p:cNvSpPr>
              <a:spLocks/>
            </p:cNvSpPr>
            <p:nvPr/>
          </p:nvSpPr>
          <p:spPr bwMode="auto">
            <a:xfrm>
              <a:off x="637" y="2109"/>
              <a:ext cx="135" cy="186"/>
            </a:xfrm>
            <a:custGeom>
              <a:avLst/>
              <a:gdLst>
                <a:gd name="T0" fmla="*/ 0 w 135"/>
                <a:gd name="T1" fmla="*/ 0 h 186"/>
                <a:gd name="T2" fmla="*/ 135 w 135"/>
                <a:gd name="T3" fmla="*/ 25 h 186"/>
                <a:gd name="T4" fmla="*/ 135 w 135"/>
                <a:gd name="T5" fmla="*/ 186 h 186"/>
                <a:gd name="T6" fmla="*/ 0 w 135"/>
                <a:gd name="T7" fmla="*/ 136 h 186"/>
                <a:gd name="T8" fmla="*/ 0 w 135"/>
                <a:gd name="T9" fmla="*/ 0 h 18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5"/>
                <a:gd name="T16" fmla="*/ 0 h 186"/>
                <a:gd name="T17" fmla="*/ 135 w 135"/>
                <a:gd name="T18" fmla="*/ 186 h 18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5" h="186">
                  <a:moveTo>
                    <a:pt x="0" y="0"/>
                  </a:moveTo>
                  <a:lnTo>
                    <a:pt x="135" y="25"/>
                  </a:lnTo>
                  <a:lnTo>
                    <a:pt x="135" y="186"/>
                  </a:lnTo>
                  <a:lnTo>
                    <a:pt x="0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grpSp>
          <p:nvGrpSpPr>
            <p:cNvPr id="337" name="Group 80"/>
            <p:cNvGrpSpPr>
              <a:grpSpLocks/>
            </p:cNvGrpSpPr>
            <p:nvPr/>
          </p:nvGrpSpPr>
          <p:grpSpPr bwMode="auto">
            <a:xfrm>
              <a:off x="641" y="2116"/>
              <a:ext cx="125" cy="149"/>
              <a:chOff x="641" y="2116"/>
              <a:chExt cx="125" cy="149"/>
            </a:xfrm>
          </p:grpSpPr>
          <p:sp>
            <p:nvSpPr>
              <p:cNvPr id="582" name="Freeform 81"/>
              <p:cNvSpPr>
                <a:spLocks/>
              </p:cNvSpPr>
              <p:nvPr/>
            </p:nvSpPr>
            <p:spPr bwMode="auto">
              <a:xfrm>
                <a:off x="641" y="2116"/>
                <a:ext cx="121" cy="147"/>
              </a:xfrm>
              <a:custGeom>
                <a:avLst/>
                <a:gdLst>
                  <a:gd name="T0" fmla="*/ 0 w 122"/>
                  <a:gd name="T1" fmla="*/ 0 h 145"/>
                  <a:gd name="T2" fmla="*/ 0 w 122"/>
                  <a:gd name="T3" fmla="*/ 149 h 145"/>
                  <a:gd name="T4" fmla="*/ 88 w 122"/>
                  <a:gd name="T5" fmla="*/ 228 h 145"/>
                  <a:gd name="T6" fmla="*/ 88 w 122"/>
                  <a:gd name="T7" fmla="*/ 21 h 145"/>
                  <a:gd name="T8" fmla="*/ 0 w 122"/>
                  <a:gd name="T9" fmla="*/ 0 h 1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2"/>
                  <a:gd name="T16" fmla="*/ 0 h 145"/>
                  <a:gd name="T17" fmla="*/ 122 w 122"/>
                  <a:gd name="T18" fmla="*/ 145 h 1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2" h="145">
                    <a:moveTo>
                      <a:pt x="0" y="0"/>
                    </a:moveTo>
                    <a:lnTo>
                      <a:pt x="0" y="95"/>
                    </a:lnTo>
                    <a:lnTo>
                      <a:pt x="122" y="145"/>
                    </a:lnTo>
                    <a:lnTo>
                      <a:pt x="122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83" name="Freeform 82"/>
              <p:cNvSpPr>
                <a:spLocks/>
              </p:cNvSpPr>
              <p:nvPr/>
            </p:nvSpPr>
            <p:spPr bwMode="auto">
              <a:xfrm>
                <a:off x="641" y="2137"/>
                <a:ext cx="121" cy="128"/>
              </a:xfrm>
              <a:custGeom>
                <a:avLst/>
                <a:gdLst>
                  <a:gd name="T0" fmla="*/ 0 w 122"/>
                  <a:gd name="T1" fmla="*/ 0 h 127"/>
                  <a:gd name="T2" fmla="*/ 0 w 122"/>
                  <a:gd name="T3" fmla="*/ 121 h 127"/>
                  <a:gd name="T4" fmla="*/ 88 w 122"/>
                  <a:gd name="T5" fmla="*/ 161 h 127"/>
                  <a:gd name="T6" fmla="*/ 88 w 122"/>
                  <a:gd name="T7" fmla="*/ 158 h 127"/>
                  <a:gd name="T8" fmla="*/ 88 w 122"/>
                  <a:gd name="T9" fmla="*/ 4 h 127"/>
                  <a:gd name="T10" fmla="*/ 0 w 122"/>
                  <a:gd name="T11" fmla="*/ 0 h 1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22"/>
                  <a:gd name="T19" fmla="*/ 0 h 127"/>
                  <a:gd name="T20" fmla="*/ 122 w 122"/>
                  <a:gd name="T21" fmla="*/ 127 h 12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22" h="127">
                    <a:moveTo>
                      <a:pt x="0" y="0"/>
                    </a:moveTo>
                    <a:lnTo>
                      <a:pt x="0" y="87"/>
                    </a:lnTo>
                    <a:lnTo>
                      <a:pt x="122" y="127"/>
                    </a:lnTo>
                    <a:lnTo>
                      <a:pt x="122" y="124"/>
                    </a:lnTo>
                    <a:lnTo>
                      <a:pt x="122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84" name="Freeform 83"/>
              <p:cNvSpPr>
                <a:spLocks/>
              </p:cNvSpPr>
              <p:nvPr/>
            </p:nvSpPr>
            <p:spPr bwMode="auto">
              <a:xfrm>
                <a:off x="641" y="2116"/>
                <a:ext cx="121" cy="147"/>
              </a:xfrm>
              <a:custGeom>
                <a:avLst/>
                <a:gdLst>
                  <a:gd name="T0" fmla="*/ 0 w 122"/>
                  <a:gd name="T1" fmla="*/ 0 h 145"/>
                  <a:gd name="T2" fmla="*/ 0 w 122"/>
                  <a:gd name="T3" fmla="*/ 173 h 145"/>
                  <a:gd name="T4" fmla="*/ 88 w 122"/>
                  <a:gd name="T5" fmla="*/ 228 h 145"/>
                  <a:gd name="T6" fmla="*/ 88 w 122"/>
                  <a:gd name="T7" fmla="*/ 23 h 145"/>
                  <a:gd name="T8" fmla="*/ 0 w 122"/>
                  <a:gd name="T9" fmla="*/ 0 h 1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2"/>
                  <a:gd name="T16" fmla="*/ 0 h 145"/>
                  <a:gd name="T17" fmla="*/ 122 w 122"/>
                  <a:gd name="T18" fmla="*/ 145 h 1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2" h="145">
                    <a:moveTo>
                      <a:pt x="0" y="0"/>
                    </a:moveTo>
                    <a:lnTo>
                      <a:pt x="0" y="107"/>
                    </a:lnTo>
                    <a:lnTo>
                      <a:pt x="122" y="145"/>
                    </a:lnTo>
                    <a:lnTo>
                      <a:pt x="122" y="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060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85" name="Freeform 84"/>
              <p:cNvSpPr>
                <a:spLocks/>
              </p:cNvSpPr>
              <p:nvPr/>
            </p:nvSpPr>
            <p:spPr bwMode="auto">
              <a:xfrm>
                <a:off x="679" y="2231"/>
                <a:ext cx="7" cy="7"/>
              </a:xfrm>
              <a:custGeom>
                <a:avLst/>
                <a:gdLst>
                  <a:gd name="T0" fmla="*/ 0 w 7"/>
                  <a:gd name="T1" fmla="*/ 36315008 h 3"/>
                  <a:gd name="T2" fmla="*/ 1 w 7"/>
                  <a:gd name="T3" fmla="*/ 60525013 h 3"/>
                  <a:gd name="T4" fmla="*/ 7 w 7"/>
                  <a:gd name="T5" fmla="*/ 100875022 h 3"/>
                  <a:gd name="T6" fmla="*/ 7 w 7"/>
                  <a:gd name="T7" fmla="*/ 36315008 h 3"/>
                  <a:gd name="T8" fmla="*/ 6 w 7"/>
                  <a:gd name="T9" fmla="*/ 0 h 3"/>
                  <a:gd name="T10" fmla="*/ 0 w 7"/>
                  <a:gd name="T11" fmla="*/ 36315008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3"/>
                  <a:gd name="T20" fmla="*/ 7 w 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3">
                    <a:moveTo>
                      <a:pt x="0" y="1"/>
                    </a:moveTo>
                    <a:lnTo>
                      <a:pt x="1" y="2"/>
                    </a:lnTo>
                    <a:lnTo>
                      <a:pt x="7" y="3"/>
                    </a:lnTo>
                    <a:lnTo>
                      <a:pt x="7" y="1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86" name="Freeform 85"/>
              <p:cNvSpPr>
                <a:spLocks/>
              </p:cNvSpPr>
              <p:nvPr/>
            </p:nvSpPr>
            <p:spPr bwMode="auto">
              <a:xfrm>
                <a:off x="644" y="2119"/>
                <a:ext cx="7" cy="102"/>
              </a:xfrm>
              <a:custGeom>
                <a:avLst/>
                <a:gdLst>
                  <a:gd name="T0" fmla="*/ 0 w 7"/>
                  <a:gd name="T1" fmla="*/ 0 h 101"/>
                  <a:gd name="T2" fmla="*/ 0 w 7"/>
                  <a:gd name="T3" fmla="*/ 134 h 101"/>
                  <a:gd name="T4" fmla="*/ 7 w 7"/>
                  <a:gd name="T5" fmla="*/ 135 h 101"/>
                  <a:gd name="T6" fmla="*/ 7 w 7"/>
                  <a:gd name="T7" fmla="*/ 1 h 101"/>
                  <a:gd name="T8" fmla="*/ 0 w 7"/>
                  <a:gd name="T9" fmla="*/ 0 h 10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1"/>
                  <a:gd name="T17" fmla="*/ 7 w 7"/>
                  <a:gd name="T18" fmla="*/ 101 h 10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1">
                    <a:moveTo>
                      <a:pt x="0" y="0"/>
                    </a:moveTo>
                    <a:lnTo>
                      <a:pt x="0" y="100"/>
                    </a:lnTo>
                    <a:lnTo>
                      <a:pt x="7" y="101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87" name="Freeform 86"/>
              <p:cNvSpPr>
                <a:spLocks/>
              </p:cNvSpPr>
              <p:nvPr/>
            </p:nvSpPr>
            <p:spPr bwMode="auto">
              <a:xfrm>
                <a:off x="644" y="2119"/>
                <a:ext cx="7" cy="2"/>
              </a:xfrm>
              <a:custGeom>
                <a:avLst/>
                <a:gdLst>
                  <a:gd name="T0" fmla="*/ 0 w 8"/>
                  <a:gd name="T1" fmla="*/ 1 h 2"/>
                  <a:gd name="T2" fmla="*/ 4 w 8"/>
                  <a:gd name="T3" fmla="*/ 2 h 2"/>
                  <a:gd name="T4" fmla="*/ 4 w 8"/>
                  <a:gd name="T5" fmla="*/ 1 h 2"/>
                  <a:gd name="T6" fmla="*/ 1 w 8"/>
                  <a:gd name="T7" fmla="*/ 0 h 2"/>
                  <a:gd name="T8" fmla="*/ 0 w 8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2"/>
                  <a:gd name="T17" fmla="*/ 8 w 8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2">
                    <a:moveTo>
                      <a:pt x="0" y="1"/>
                    </a:moveTo>
                    <a:lnTo>
                      <a:pt x="7" y="2"/>
                    </a:lnTo>
                    <a:lnTo>
                      <a:pt x="8" y="1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88" name="Freeform 87"/>
              <p:cNvSpPr>
                <a:spLocks/>
              </p:cNvSpPr>
              <p:nvPr/>
            </p:nvSpPr>
            <p:spPr bwMode="auto">
              <a:xfrm>
                <a:off x="644" y="2219"/>
                <a:ext cx="7" cy="5"/>
              </a:xfrm>
              <a:custGeom>
                <a:avLst/>
                <a:gdLst>
                  <a:gd name="T0" fmla="*/ 0 w 8"/>
                  <a:gd name="T1" fmla="*/ 0 h 4"/>
                  <a:gd name="T2" fmla="*/ 1 w 8"/>
                  <a:gd name="T3" fmla="*/ 1 h 4"/>
                  <a:gd name="T4" fmla="*/ 4 w 8"/>
                  <a:gd name="T5" fmla="*/ 7701 h 4"/>
                  <a:gd name="T6" fmla="*/ 4 w 8"/>
                  <a:gd name="T7" fmla="*/ 1 h 4"/>
                  <a:gd name="T8" fmla="*/ 4 w 8"/>
                  <a:gd name="T9" fmla="*/ 0 h 4"/>
                  <a:gd name="T10" fmla="*/ 0 w 8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4"/>
                  <a:gd name="T20" fmla="*/ 8 w 8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4">
                    <a:moveTo>
                      <a:pt x="0" y="0"/>
                    </a:moveTo>
                    <a:lnTo>
                      <a:pt x="1" y="1"/>
                    </a:lnTo>
                    <a:lnTo>
                      <a:pt x="8" y="4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89" name="Freeform 88"/>
              <p:cNvSpPr>
                <a:spLocks/>
              </p:cNvSpPr>
              <p:nvPr/>
            </p:nvSpPr>
            <p:spPr bwMode="auto">
              <a:xfrm>
                <a:off x="644" y="2121"/>
                <a:ext cx="7" cy="100"/>
              </a:xfrm>
              <a:custGeom>
                <a:avLst/>
                <a:gdLst>
                  <a:gd name="T0" fmla="*/ 0 w 7"/>
                  <a:gd name="T1" fmla="*/ 0 h 100"/>
                  <a:gd name="T2" fmla="*/ 0 w 7"/>
                  <a:gd name="T3" fmla="*/ 98 h 100"/>
                  <a:gd name="T4" fmla="*/ 7 w 7"/>
                  <a:gd name="T5" fmla="*/ 100 h 100"/>
                  <a:gd name="T6" fmla="*/ 7 w 7"/>
                  <a:gd name="T7" fmla="*/ 1 h 100"/>
                  <a:gd name="T8" fmla="*/ 0 w 7"/>
                  <a:gd name="T9" fmla="*/ 0 h 1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0"/>
                  <a:gd name="T17" fmla="*/ 7 w 7"/>
                  <a:gd name="T18" fmla="*/ 100 h 10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0">
                    <a:moveTo>
                      <a:pt x="0" y="0"/>
                    </a:moveTo>
                    <a:lnTo>
                      <a:pt x="0" y="98"/>
                    </a:lnTo>
                    <a:lnTo>
                      <a:pt x="7" y="100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0" name="Freeform 89"/>
              <p:cNvSpPr>
                <a:spLocks/>
              </p:cNvSpPr>
              <p:nvPr/>
            </p:nvSpPr>
            <p:spPr bwMode="auto">
              <a:xfrm>
                <a:off x="660" y="2123"/>
                <a:ext cx="7" cy="105"/>
              </a:xfrm>
              <a:custGeom>
                <a:avLst/>
                <a:gdLst>
                  <a:gd name="T0" fmla="*/ 0 w 7"/>
                  <a:gd name="T1" fmla="*/ 0 h 104"/>
                  <a:gd name="T2" fmla="*/ 0 w 7"/>
                  <a:gd name="T3" fmla="*/ 137 h 104"/>
                  <a:gd name="T4" fmla="*/ 7 w 7"/>
                  <a:gd name="T5" fmla="*/ 138 h 104"/>
                  <a:gd name="T6" fmla="*/ 7 w 7"/>
                  <a:gd name="T7" fmla="*/ 0 h 104"/>
                  <a:gd name="T8" fmla="*/ 0 w 7"/>
                  <a:gd name="T9" fmla="*/ 0 h 10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4"/>
                  <a:gd name="T17" fmla="*/ 7 w 7"/>
                  <a:gd name="T18" fmla="*/ 104 h 10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4">
                    <a:moveTo>
                      <a:pt x="0" y="0"/>
                    </a:moveTo>
                    <a:lnTo>
                      <a:pt x="0" y="103"/>
                    </a:lnTo>
                    <a:lnTo>
                      <a:pt x="7" y="104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1" name="Freeform 90"/>
              <p:cNvSpPr>
                <a:spLocks/>
              </p:cNvSpPr>
              <p:nvPr/>
            </p:nvSpPr>
            <p:spPr bwMode="auto">
              <a:xfrm>
                <a:off x="660" y="2123"/>
                <a:ext cx="9" cy="0"/>
              </a:xfrm>
              <a:custGeom>
                <a:avLst/>
                <a:gdLst>
                  <a:gd name="T0" fmla="*/ 0 w 8"/>
                  <a:gd name="T1" fmla="*/ 0 h 3"/>
                  <a:gd name="T2" fmla="*/ 362 w 8"/>
                  <a:gd name="T3" fmla="*/ 0 h 3"/>
                  <a:gd name="T4" fmla="*/ 407 w 8"/>
                  <a:gd name="T5" fmla="*/ 0 h 3"/>
                  <a:gd name="T6" fmla="*/ 1 w 8"/>
                  <a:gd name="T7" fmla="*/ 0 h 3"/>
                  <a:gd name="T8" fmla="*/ 0 w 8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3"/>
                  <a:gd name="T17" fmla="*/ 8 w 8"/>
                  <a:gd name="T18" fmla="*/ 0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3">
                    <a:moveTo>
                      <a:pt x="0" y="1"/>
                    </a:moveTo>
                    <a:lnTo>
                      <a:pt x="7" y="3"/>
                    </a:lnTo>
                    <a:lnTo>
                      <a:pt x="8" y="0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2" name="Freeform 91"/>
              <p:cNvSpPr>
                <a:spLocks/>
              </p:cNvSpPr>
              <p:nvPr/>
            </p:nvSpPr>
            <p:spPr bwMode="auto">
              <a:xfrm>
                <a:off x="660" y="2226"/>
                <a:ext cx="9" cy="2"/>
              </a:xfrm>
              <a:custGeom>
                <a:avLst/>
                <a:gdLst>
                  <a:gd name="T0" fmla="*/ 0 w 8"/>
                  <a:gd name="T1" fmla="*/ 1 h 3"/>
                  <a:gd name="T2" fmla="*/ 1 w 8"/>
                  <a:gd name="T3" fmla="*/ 1 h 3"/>
                  <a:gd name="T4" fmla="*/ 407 w 8"/>
                  <a:gd name="T5" fmla="*/ 1 h 3"/>
                  <a:gd name="T6" fmla="*/ 407 w 8"/>
                  <a:gd name="T7" fmla="*/ 1 h 3"/>
                  <a:gd name="T8" fmla="*/ 361 w 8"/>
                  <a:gd name="T9" fmla="*/ 0 h 3"/>
                  <a:gd name="T10" fmla="*/ 0 w 8"/>
                  <a:gd name="T11" fmla="*/ 1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3"/>
                  <a:gd name="T20" fmla="*/ 8 w 8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3">
                    <a:moveTo>
                      <a:pt x="0" y="1"/>
                    </a:moveTo>
                    <a:lnTo>
                      <a:pt x="1" y="2"/>
                    </a:lnTo>
                    <a:lnTo>
                      <a:pt x="8" y="3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3" name="Freeform 92"/>
              <p:cNvSpPr>
                <a:spLocks/>
              </p:cNvSpPr>
              <p:nvPr/>
            </p:nvSpPr>
            <p:spPr bwMode="auto">
              <a:xfrm>
                <a:off x="660" y="2123"/>
                <a:ext cx="7" cy="105"/>
              </a:xfrm>
              <a:custGeom>
                <a:avLst/>
                <a:gdLst>
                  <a:gd name="T0" fmla="*/ 0 w 7"/>
                  <a:gd name="T1" fmla="*/ 0 h 103"/>
                  <a:gd name="T2" fmla="*/ 0 w 7"/>
                  <a:gd name="T3" fmla="*/ 193 h 103"/>
                  <a:gd name="T4" fmla="*/ 7 w 7"/>
                  <a:gd name="T5" fmla="*/ 195 h 103"/>
                  <a:gd name="T6" fmla="*/ 7 w 7"/>
                  <a:gd name="T7" fmla="*/ 2 h 103"/>
                  <a:gd name="T8" fmla="*/ 0 w 7"/>
                  <a:gd name="T9" fmla="*/ 0 h 10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3"/>
                  <a:gd name="T17" fmla="*/ 7 w 7"/>
                  <a:gd name="T18" fmla="*/ 103 h 10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3">
                    <a:moveTo>
                      <a:pt x="0" y="0"/>
                    </a:moveTo>
                    <a:lnTo>
                      <a:pt x="0" y="102"/>
                    </a:lnTo>
                    <a:lnTo>
                      <a:pt x="7" y="103"/>
                    </a:lnTo>
                    <a:lnTo>
                      <a:pt x="7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4" name="Freeform 93"/>
              <p:cNvSpPr>
                <a:spLocks/>
              </p:cNvSpPr>
              <p:nvPr/>
            </p:nvSpPr>
            <p:spPr bwMode="auto">
              <a:xfrm>
                <a:off x="670" y="2126"/>
                <a:ext cx="7" cy="105"/>
              </a:xfrm>
              <a:custGeom>
                <a:avLst/>
                <a:gdLst>
                  <a:gd name="T0" fmla="*/ 0 w 7"/>
                  <a:gd name="T1" fmla="*/ 0 h 105"/>
                  <a:gd name="T2" fmla="*/ 0 w 7"/>
                  <a:gd name="T3" fmla="*/ 104 h 105"/>
                  <a:gd name="T4" fmla="*/ 7 w 7"/>
                  <a:gd name="T5" fmla="*/ 105 h 105"/>
                  <a:gd name="T6" fmla="*/ 7 w 7"/>
                  <a:gd name="T7" fmla="*/ 0 h 105"/>
                  <a:gd name="T8" fmla="*/ 0 w 7"/>
                  <a:gd name="T9" fmla="*/ 0 h 10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5"/>
                  <a:gd name="T17" fmla="*/ 7 w 7"/>
                  <a:gd name="T18" fmla="*/ 105 h 10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5">
                    <a:moveTo>
                      <a:pt x="0" y="0"/>
                    </a:moveTo>
                    <a:lnTo>
                      <a:pt x="0" y="104"/>
                    </a:lnTo>
                    <a:lnTo>
                      <a:pt x="7" y="105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5" name="Freeform 94"/>
              <p:cNvSpPr>
                <a:spLocks/>
              </p:cNvSpPr>
              <p:nvPr/>
            </p:nvSpPr>
            <p:spPr bwMode="auto">
              <a:xfrm>
                <a:off x="667" y="2123"/>
                <a:ext cx="10" cy="0"/>
              </a:xfrm>
              <a:custGeom>
                <a:avLst/>
                <a:gdLst>
                  <a:gd name="T0" fmla="*/ 0 w 9"/>
                  <a:gd name="T1" fmla="*/ 0 h 3"/>
                  <a:gd name="T2" fmla="*/ 249 w 9"/>
                  <a:gd name="T3" fmla="*/ 0 h 3"/>
                  <a:gd name="T4" fmla="*/ 308 w 9"/>
                  <a:gd name="T5" fmla="*/ 0 h 3"/>
                  <a:gd name="T6" fmla="*/ 2 w 9"/>
                  <a:gd name="T7" fmla="*/ 0 h 3"/>
                  <a:gd name="T8" fmla="*/ 0 w 9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3"/>
                  <a:gd name="T17" fmla="*/ 9 w 9"/>
                  <a:gd name="T18" fmla="*/ 0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3">
                    <a:moveTo>
                      <a:pt x="0" y="2"/>
                    </a:moveTo>
                    <a:lnTo>
                      <a:pt x="7" y="3"/>
                    </a:lnTo>
                    <a:lnTo>
                      <a:pt x="9" y="2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6" name="Freeform 95"/>
              <p:cNvSpPr>
                <a:spLocks/>
              </p:cNvSpPr>
              <p:nvPr/>
            </p:nvSpPr>
            <p:spPr bwMode="auto">
              <a:xfrm>
                <a:off x="667" y="2228"/>
                <a:ext cx="10" cy="5"/>
              </a:xfrm>
              <a:custGeom>
                <a:avLst/>
                <a:gdLst>
                  <a:gd name="T0" fmla="*/ 0 w 9"/>
                  <a:gd name="T1" fmla="*/ 0 h 4"/>
                  <a:gd name="T2" fmla="*/ 2 w 9"/>
                  <a:gd name="T3" fmla="*/ 4929 h 4"/>
                  <a:gd name="T4" fmla="*/ 308 w 9"/>
                  <a:gd name="T5" fmla="*/ 7701 h 4"/>
                  <a:gd name="T6" fmla="*/ 308 w 9"/>
                  <a:gd name="T7" fmla="*/ 4929 h 4"/>
                  <a:gd name="T8" fmla="*/ 224 w 9"/>
                  <a:gd name="T9" fmla="*/ 0 h 4"/>
                  <a:gd name="T10" fmla="*/ 0 w 9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"/>
                  <a:gd name="T19" fmla="*/ 0 h 4"/>
                  <a:gd name="T20" fmla="*/ 9 w 9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" h="4">
                    <a:moveTo>
                      <a:pt x="0" y="0"/>
                    </a:moveTo>
                    <a:lnTo>
                      <a:pt x="2" y="2"/>
                    </a:lnTo>
                    <a:lnTo>
                      <a:pt x="9" y="4"/>
                    </a:lnTo>
                    <a:lnTo>
                      <a:pt x="9" y="2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7" name="Freeform 96"/>
              <p:cNvSpPr>
                <a:spLocks/>
              </p:cNvSpPr>
              <p:nvPr/>
            </p:nvSpPr>
            <p:spPr bwMode="auto">
              <a:xfrm>
                <a:off x="667" y="2126"/>
                <a:ext cx="7" cy="105"/>
              </a:xfrm>
              <a:custGeom>
                <a:avLst/>
                <a:gdLst>
                  <a:gd name="T0" fmla="*/ 0 w 7"/>
                  <a:gd name="T1" fmla="*/ 0 h 105"/>
                  <a:gd name="T2" fmla="*/ 0 w 7"/>
                  <a:gd name="T3" fmla="*/ 102 h 105"/>
                  <a:gd name="T4" fmla="*/ 7 w 7"/>
                  <a:gd name="T5" fmla="*/ 105 h 105"/>
                  <a:gd name="T6" fmla="*/ 7 w 7"/>
                  <a:gd name="T7" fmla="*/ 1 h 105"/>
                  <a:gd name="T8" fmla="*/ 0 w 7"/>
                  <a:gd name="T9" fmla="*/ 0 h 10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5"/>
                  <a:gd name="T17" fmla="*/ 7 w 7"/>
                  <a:gd name="T18" fmla="*/ 105 h 10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5">
                    <a:moveTo>
                      <a:pt x="0" y="0"/>
                    </a:moveTo>
                    <a:lnTo>
                      <a:pt x="0" y="102"/>
                    </a:lnTo>
                    <a:lnTo>
                      <a:pt x="7" y="105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8" name="Freeform 97"/>
              <p:cNvSpPr>
                <a:spLocks/>
              </p:cNvSpPr>
              <p:nvPr/>
            </p:nvSpPr>
            <p:spPr bwMode="auto">
              <a:xfrm>
                <a:off x="679" y="2126"/>
                <a:ext cx="7" cy="109"/>
              </a:xfrm>
              <a:custGeom>
                <a:avLst/>
                <a:gdLst>
                  <a:gd name="T0" fmla="*/ 0 w 6"/>
                  <a:gd name="T1" fmla="*/ 0 h 107"/>
                  <a:gd name="T2" fmla="*/ 0 w 6"/>
                  <a:gd name="T3" fmla="*/ 193 h 107"/>
                  <a:gd name="T4" fmla="*/ 1210 w 6"/>
                  <a:gd name="T5" fmla="*/ 197 h 107"/>
                  <a:gd name="T6" fmla="*/ 1210 w 6"/>
                  <a:gd name="T7" fmla="*/ 0 h 107"/>
                  <a:gd name="T8" fmla="*/ 0 w 6"/>
                  <a:gd name="T9" fmla="*/ 0 h 10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07"/>
                  <a:gd name="T17" fmla="*/ 6 w 6"/>
                  <a:gd name="T18" fmla="*/ 107 h 10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07">
                    <a:moveTo>
                      <a:pt x="0" y="0"/>
                    </a:moveTo>
                    <a:lnTo>
                      <a:pt x="0" y="105"/>
                    </a:lnTo>
                    <a:lnTo>
                      <a:pt x="6" y="107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9" name="Freeform 98"/>
              <p:cNvSpPr>
                <a:spLocks/>
              </p:cNvSpPr>
              <p:nvPr/>
            </p:nvSpPr>
            <p:spPr bwMode="auto">
              <a:xfrm>
                <a:off x="679" y="2126"/>
                <a:ext cx="7" cy="2"/>
              </a:xfrm>
              <a:custGeom>
                <a:avLst/>
                <a:gdLst>
                  <a:gd name="T0" fmla="*/ 0 w 7"/>
                  <a:gd name="T1" fmla="*/ 2 h 2"/>
                  <a:gd name="T2" fmla="*/ 6 w 7"/>
                  <a:gd name="T3" fmla="*/ 2 h 2"/>
                  <a:gd name="T4" fmla="*/ 7 w 7"/>
                  <a:gd name="T5" fmla="*/ 1 h 2"/>
                  <a:gd name="T6" fmla="*/ 0 w 7"/>
                  <a:gd name="T7" fmla="*/ 0 h 2"/>
                  <a:gd name="T8" fmla="*/ 0 w 7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2"/>
                    </a:moveTo>
                    <a:lnTo>
                      <a:pt x="6" y="2"/>
                    </a:lnTo>
                    <a:lnTo>
                      <a:pt x="7" y="1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0" name="Freeform 99"/>
              <p:cNvSpPr>
                <a:spLocks/>
              </p:cNvSpPr>
              <p:nvPr/>
            </p:nvSpPr>
            <p:spPr bwMode="auto">
              <a:xfrm>
                <a:off x="679" y="2128"/>
                <a:ext cx="5" cy="105"/>
              </a:xfrm>
              <a:custGeom>
                <a:avLst/>
                <a:gdLst>
                  <a:gd name="T0" fmla="*/ 0 w 6"/>
                  <a:gd name="T1" fmla="*/ 0 h 105"/>
                  <a:gd name="T2" fmla="*/ 0 w 6"/>
                  <a:gd name="T3" fmla="*/ 103 h 105"/>
                  <a:gd name="T4" fmla="*/ 3 w 6"/>
                  <a:gd name="T5" fmla="*/ 105 h 105"/>
                  <a:gd name="T6" fmla="*/ 3 w 6"/>
                  <a:gd name="T7" fmla="*/ 0 h 105"/>
                  <a:gd name="T8" fmla="*/ 0 w 6"/>
                  <a:gd name="T9" fmla="*/ 0 h 10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05"/>
                  <a:gd name="T17" fmla="*/ 6 w 6"/>
                  <a:gd name="T18" fmla="*/ 105 h 10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05">
                    <a:moveTo>
                      <a:pt x="0" y="0"/>
                    </a:moveTo>
                    <a:lnTo>
                      <a:pt x="0" y="103"/>
                    </a:lnTo>
                    <a:lnTo>
                      <a:pt x="6" y="105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1" name="Freeform 100"/>
              <p:cNvSpPr>
                <a:spLocks/>
              </p:cNvSpPr>
              <p:nvPr/>
            </p:nvSpPr>
            <p:spPr bwMode="auto">
              <a:xfrm>
                <a:off x="686" y="2128"/>
                <a:ext cx="7" cy="109"/>
              </a:xfrm>
              <a:custGeom>
                <a:avLst/>
                <a:gdLst>
                  <a:gd name="T0" fmla="*/ 0 w 7"/>
                  <a:gd name="T1" fmla="*/ 0 h 108"/>
                  <a:gd name="T2" fmla="*/ 0 w 7"/>
                  <a:gd name="T3" fmla="*/ 140 h 108"/>
                  <a:gd name="T4" fmla="*/ 6 w 7"/>
                  <a:gd name="T5" fmla="*/ 142 h 108"/>
                  <a:gd name="T6" fmla="*/ 7 w 7"/>
                  <a:gd name="T7" fmla="*/ 0 h 108"/>
                  <a:gd name="T8" fmla="*/ 0 w 7"/>
                  <a:gd name="T9" fmla="*/ 0 h 10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8"/>
                  <a:gd name="T17" fmla="*/ 7 w 7"/>
                  <a:gd name="T18" fmla="*/ 108 h 10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8">
                    <a:moveTo>
                      <a:pt x="0" y="0"/>
                    </a:moveTo>
                    <a:lnTo>
                      <a:pt x="0" y="106"/>
                    </a:lnTo>
                    <a:lnTo>
                      <a:pt x="6" y="108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2" name="Freeform 101"/>
              <p:cNvSpPr>
                <a:spLocks/>
              </p:cNvSpPr>
              <p:nvPr/>
            </p:nvSpPr>
            <p:spPr bwMode="auto">
              <a:xfrm>
                <a:off x="686" y="2128"/>
                <a:ext cx="7" cy="2"/>
              </a:xfrm>
              <a:custGeom>
                <a:avLst/>
                <a:gdLst>
                  <a:gd name="T0" fmla="*/ 0 w 7"/>
                  <a:gd name="T1" fmla="*/ 1 h 2"/>
                  <a:gd name="T2" fmla="*/ 7 w 7"/>
                  <a:gd name="T3" fmla="*/ 2 h 2"/>
                  <a:gd name="T4" fmla="*/ 7 w 7"/>
                  <a:gd name="T5" fmla="*/ 0 h 2"/>
                  <a:gd name="T6" fmla="*/ 1 w 7"/>
                  <a:gd name="T7" fmla="*/ 0 h 2"/>
                  <a:gd name="T8" fmla="*/ 0 w 7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1"/>
                    </a:moveTo>
                    <a:lnTo>
                      <a:pt x="7" y="2"/>
                    </a:lnTo>
                    <a:lnTo>
                      <a:pt x="7" y="0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3" name="Freeform 102"/>
              <p:cNvSpPr>
                <a:spLocks/>
              </p:cNvSpPr>
              <p:nvPr/>
            </p:nvSpPr>
            <p:spPr bwMode="auto">
              <a:xfrm>
                <a:off x="686" y="2235"/>
                <a:ext cx="7" cy="2"/>
              </a:xfrm>
              <a:custGeom>
                <a:avLst/>
                <a:gdLst>
                  <a:gd name="T0" fmla="*/ 0 w 7"/>
                  <a:gd name="T1" fmla="*/ 0 h 4"/>
                  <a:gd name="T2" fmla="*/ 1 w 7"/>
                  <a:gd name="T3" fmla="*/ 1 h 4"/>
                  <a:gd name="T4" fmla="*/ 7 w 7"/>
                  <a:gd name="T5" fmla="*/ 1 h 4"/>
                  <a:gd name="T6" fmla="*/ 7 w 7"/>
                  <a:gd name="T7" fmla="*/ 1 h 4"/>
                  <a:gd name="T8" fmla="*/ 6 w 7"/>
                  <a:gd name="T9" fmla="*/ 0 h 4"/>
                  <a:gd name="T10" fmla="*/ 0 w 7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4"/>
                  <a:gd name="T20" fmla="*/ 7 w 7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4">
                    <a:moveTo>
                      <a:pt x="0" y="0"/>
                    </a:moveTo>
                    <a:lnTo>
                      <a:pt x="1" y="1"/>
                    </a:lnTo>
                    <a:lnTo>
                      <a:pt x="7" y="4"/>
                    </a:lnTo>
                    <a:lnTo>
                      <a:pt x="7" y="1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4" name="Freeform 103"/>
              <p:cNvSpPr>
                <a:spLocks/>
              </p:cNvSpPr>
              <p:nvPr/>
            </p:nvSpPr>
            <p:spPr bwMode="auto">
              <a:xfrm>
                <a:off x="686" y="2128"/>
                <a:ext cx="7" cy="107"/>
              </a:xfrm>
              <a:custGeom>
                <a:avLst/>
                <a:gdLst>
                  <a:gd name="T0" fmla="*/ 0 w 7"/>
                  <a:gd name="T1" fmla="*/ 0 h 106"/>
                  <a:gd name="T2" fmla="*/ 0 w 7"/>
                  <a:gd name="T3" fmla="*/ 139 h 106"/>
                  <a:gd name="T4" fmla="*/ 7 w 7"/>
                  <a:gd name="T5" fmla="*/ 140 h 106"/>
                  <a:gd name="T6" fmla="*/ 7 w 7"/>
                  <a:gd name="T7" fmla="*/ 1 h 106"/>
                  <a:gd name="T8" fmla="*/ 0 w 7"/>
                  <a:gd name="T9" fmla="*/ 0 h 10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6"/>
                  <a:gd name="T17" fmla="*/ 7 w 7"/>
                  <a:gd name="T18" fmla="*/ 106 h 10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6">
                    <a:moveTo>
                      <a:pt x="0" y="0"/>
                    </a:moveTo>
                    <a:lnTo>
                      <a:pt x="0" y="105"/>
                    </a:lnTo>
                    <a:lnTo>
                      <a:pt x="7" y="106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5" name="Freeform 104"/>
              <p:cNvSpPr>
                <a:spLocks/>
              </p:cNvSpPr>
              <p:nvPr/>
            </p:nvSpPr>
            <p:spPr bwMode="auto">
              <a:xfrm>
                <a:off x="696" y="2130"/>
                <a:ext cx="7" cy="109"/>
              </a:xfrm>
              <a:custGeom>
                <a:avLst/>
                <a:gdLst>
                  <a:gd name="T0" fmla="*/ 0 w 7"/>
                  <a:gd name="T1" fmla="*/ 0 h 109"/>
                  <a:gd name="T2" fmla="*/ 0 w 7"/>
                  <a:gd name="T3" fmla="*/ 108 h 109"/>
                  <a:gd name="T4" fmla="*/ 7 w 7"/>
                  <a:gd name="T5" fmla="*/ 109 h 109"/>
                  <a:gd name="T6" fmla="*/ 7 w 7"/>
                  <a:gd name="T7" fmla="*/ 0 h 109"/>
                  <a:gd name="T8" fmla="*/ 0 w 7"/>
                  <a:gd name="T9" fmla="*/ 0 h 10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9"/>
                  <a:gd name="T17" fmla="*/ 7 w 7"/>
                  <a:gd name="T18" fmla="*/ 109 h 10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9">
                    <a:moveTo>
                      <a:pt x="0" y="0"/>
                    </a:moveTo>
                    <a:lnTo>
                      <a:pt x="0" y="108"/>
                    </a:lnTo>
                    <a:lnTo>
                      <a:pt x="7" y="109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6" name="Freeform 105"/>
              <p:cNvSpPr>
                <a:spLocks/>
              </p:cNvSpPr>
              <p:nvPr/>
            </p:nvSpPr>
            <p:spPr bwMode="auto">
              <a:xfrm>
                <a:off x="696" y="2128"/>
                <a:ext cx="7" cy="2"/>
              </a:xfrm>
              <a:custGeom>
                <a:avLst/>
                <a:gdLst>
                  <a:gd name="T0" fmla="*/ 0 w 7"/>
                  <a:gd name="T1" fmla="*/ 1 h 2"/>
                  <a:gd name="T2" fmla="*/ 6 w 7"/>
                  <a:gd name="T3" fmla="*/ 2 h 2"/>
                  <a:gd name="T4" fmla="*/ 7 w 7"/>
                  <a:gd name="T5" fmla="*/ 1 h 2"/>
                  <a:gd name="T6" fmla="*/ 0 w 7"/>
                  <a:gd name="T7" fmla="*/ 0 h 2"/>
                  <a:gd name="T8" fmla="*/ 0 w 7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1"/>
                    </a:moveTo>
                    <a:lnTo>
                      <a:pt x="6" y="2"/>
                    </a:lnTo>
                    <a:lnTo>
                      <a:pt x="7" y="1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7" name="Freeform 106"/>
              <p:cNvSpPr>
                <a:spLocks/>
              </p:cNvSpPr>
              <p:nvPr/>
            </p:nvSpPr>
            <p:spPr bwMode="auto">
              <a:xfrm>
                <a:off x="693" y="2238"/>
                <a:ext cx="10" cy="2"/>
              </a:xfrm>
              <a:custGeom>
                <a:avLst/>
                <a:gdLst>
                  <a:gd name="T0" fmla="*/ 0 w 8"/>
                  <a:gd name="T1" fmla="*/ 0 h 3"/>
                  <a:gd name="T2" fmla="*/ 1 w 8"/>
                  <a:gd name="T3" fmla="*/ 1 h 3"/>
                  <a:gd name="T4" fmla="*/ 16024 w 8"/>
                  <a:gd name="T5" fmla="*/ 1 h 3"/>
                  <a:gd name="T6" fmla="*/ 16024 w 8"/>
                  <a:gd name="T7" fmla="*/ 1 h 3"/>
                  <a:gd name="T8" fmla="*/ 10838 w 8"/>
                  <a:gd name="T9" fmla="*/ 0 h 3"/>
                  <a:gd name="T10" fmla="*/ 0 w 8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3"/>
                  <a:gd name="T20" fmla="*/ 8 w 8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3">
                    <a:moveTo>
                      <a:pt x="0" y="0"/>
                    </a:moveTo>
                    <a:lnTo>
                      <a:pt x="1" y="1"/>
                    </a:lnTo>
                    <a:lnTo>
                      <a:pt x="8" y="3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8" name="Freeform 107"/>
              <p:cNvSpPr>
                <a:spLocks/>
              </p:cNvSpPr>
              <p:nvPr/>
            </p:nvSpPr>
            <p:spPr bwMode="auto">
              <a:xfrm>
                <a:off x="696" y="2130"/>
                <a:ext cx="2" cy="109"/>
              </a:xfrm>
              <a:custGeom>
                <a:avLst/>
                <a:gdLst>
                  <a:gd name="T0" fmla="*/ 0 w 6"/>
                  <a:gd name="T1" fmla="*/ 0 h 109"/>
                  <a:gd name="T2" fmla="*/ 0 w 6"/>
                  <a:gd name="T3" fmla="*/ 107 h 109"/>
                  <a:gd name="T4" fmla="*/ 1 w 6"/>
                  <a:gd name="T5" fmla="*/ 109 h 109"/>
                  <a:gd name="T6" fmla="*/ 1 w 6"/>
                  <a:gd name="T7" fmla="*/ 1 h 109"/>
                  <a:gd name="T8" fmla="*/ 0 w 6"/>
                  <a:gd name="T9" fmla="*/ 0 h 10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09"/>
                  <a:gd name="T17" fmla="*/ 6 w 6"/>
                  <a:gd name="T18" fmla="*/ 109 h 10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09">
                    <a:moveTo>
                      <a:pt x="0" y="0"/>
                    </a:moveTo>
                    <a:lnTo>
                      <a:pt x="0" y="107"/>
                    </a:lnTo>
                    <a:lnTo>
                      <a:pt x="6" y="109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9" name="Freeform 108"/>
              <p:cNvSpPr>
                <a:spLocks/>
              </p:cNvSpPr>
              <p:nvPr/>
            </p:nvSpPr>
            <p:spPr bwMode="auto">
              <a:xfrm>
                <a:off x="705" y="2130"/>
                <a:ext cx="7" cy="112"/>
              </a:xfrm>
              <a:custGeom>
                <a:avLst/>
                <a:gdLst>
                  <a:gd name="T0" fmla="*/ 0 w 6"/>
                  <a:gd name="T1" fmla="*/ 0 h 112"/>
                  <a:gd name="T2" fmla="*/ 0 w 6"/>
                  <a:gd name="T3" fmla="*/ 110 h 112"/>
                  <a:gd name="T4" fmla="*/ 1210 w 6"/>
                  <a:gd name="T5" fmla="*/ 112 h 112"/>
                  <a:gd name="T6" fmla="*/ 1210 w 6"/>
                  <a:gd name="T7" fmla="*/ 0 h 112"/>
                  <a:gd name="T8" fmla="*/ 0 w 6"/>
                  <a:gd name="T9" fmla="*/ 0 h 1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12"/>
                  <a:gd name="T17" fmla="*/ 6 w 6"/>
                  <a:gd name="T18" fmla="*/ 112 h 1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12">
                    <a:moveTo>
                      <a:pt x="0" y="0"/>
                    </a:moveTo>
                    <a:lnTo>
                      <a:pt x="0" y="110"/>
                    </a:lnTo>
                    <a:lnTo>
                      <a:pt x="6" y="112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0" name="Freeform 109"/>
              <p:cNvSpPr>
                <a:spLocks/>
              </p:cNvSpPr>
              <p:nvPr/>
            </p:nvSpPr>
            <p:spPr bwMode="auto">
              <a:xfrm>
                <a:off x="705" y="2130"/>
                <a:ext cx="7" cy="0"/>
              </a:xfrm>
              <a:custGeom>
                <a:avLst/>
                <a:gdLst>
                  <a:gd name="T0" fmla="*/ 0 w 7"/>
                  <a:gd name="T1" fmla="*/ 0 h 2"/>
                  <a:gd name="T2" fmla="*/ 7 w 7"/>
                  <a:gd name="T3" fmla="*/ 0 h 2"/>
                  <a:gd name="T4" fmla="*/ 7 w 7"/>
                  <a:gd name="T5" fmla="*/ 0 h 2"/>
                  <a:gd name="T6" fmla="*/ 1 w 7"/>
                  <a:gd name="T7" fmla="*/ 0 h 2"/>
                  <a:gd name="T8" fmla="*/ 0 w 7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0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0"/>
                    </a:moveTo>
                    <a:lnTo>
                      <a:pt x="7" y="2"/>
                    </a:lnTo>
                    <a:lnTo>
                      <a:pt x="7" y="0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1" name="Freeform 110"/>
              <p:cNvSpPr>
                <a:spLocks/>
              </p:cNvSpPr>
              <p:nvPr/>
            </p:nvSpPr>
            <p:spPr bwMode="auto">
              <a:xfrm>
                <a:off x="705" y="2240"/>
                <a:ext cx="7" cy="2"/>
              </a:xfrm>
              <a:custGeom>
                <a:avLst/>
                <a:gdLst>
                  <a:gd name="T0" fmla="*/ 0 w 7"/>
                  <a:gd name="T1" fmla="*/ 1 h 4"/>
                  <a:gd name="T2" fmla="*/ 1 w 7"/>
                  <a:gd name="T3" fmla="*/ 1 h 4"/>
                  <a:gd name="T4" fmla="*/ 7 w 7"/>
                  <a:gd name="T5" fmla="*/ 1 h 4"/>
                  <a:gd name="T6" fmla="*/ 7 w 7"/>
                  <a:gd name="T7" fmla="*/ 1 h 4"/>
                  <a:gd name="T8" fmla="*/ 5 w 7"/>
                  <a:gd name="T9" fmla="*/ 0 h 4"/>
                  <a:gd name="T10" fmla="*/ 0 w 7"/>
                  <a:gd name="T11" fmla="*/ 1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4"/>
                  <a:gd name="T20" fmla="*/ 7 w 7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4">
                    <a:moveTo>
                      <a:pt x="0" y="1"/>
                    </a:moveTo>
                    <a:lnTo>
                      <a:pt x="1" y="2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5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2" name="Freeform 111"/>
              <p:cNvSpPr>
                <a:spLocks/>
              </p:cNvSpPr>
              <p:nvPr/>
            </p:nvSpPr>
            <p:spPr bwMode="auto">
              <a:xfrm>
                <a:off x="705" y="2130"/>
                <a:ext cx="7" cy="112"/>
              </a:xfrm>
              <a:custGeom>
                <a:avLst/>
                <a:gdLst>
                  <a:gd name="T0" fmla="*/ 0 w 7"/>
                  <a:gd name="T1" fmla="*/ 0 h 110"/>
                  <a:gd name="T2" fmla="*/ 0 w 7"/>
                  <a:gd name="T3" fmla="*/ 195 h 110"/>
                  <a:gd name="T4" fmla="*/ 7 w 7"/>
                  <a:gd name="T5" fmla="*/ 199 h 110"/>
                  <a:gd name="T6" fmla="*/ 7 w 7"/>
                  <a:gd name="T7" fmla="*/ 2 h 110"/>
                  <a:gd name="T8" fmla="*/ 0 w 7"/>
                  <a:gd name="T9" fmla="*/ 0 h 1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0"/>
                  <a:gd name="T17" fmla="*/ 7 w 7"/>
                  <a:gd name="T18" fmla="*/ 110 h 1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0">
                    <a:moveTo>
                      <a:pt x="0" y="0"/>
                    </a:moveTo>
                    <a:lnTo>
                      <a:pt x="0" y="108"/>
                    </a:lnTo>
                    <a:lnTo>
                      <a:pt x="7" y="110"/>
                    </a:lnTo>
                    <a:lnTo>
                      <a:pt x="7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3" name="Freeform 112"/>
              <p:cNvSpPr>
                <a:spLocks/>
              </p:cNvSpPr>
              <p:nvPr/>
            </p:nvSpPr>
            <p:spPr bwMode="auto">
              <a:xfrm>
                <a:off x="712" y="2133"/>
                <a:ext cx="7" cy="112"/>
              </a:xfrm>
              <a:custGeom>
                <a:avLst/>
                <a:gdLst>
                  <a:gd name="T0" fmla="*/ 0 w 7"/>
                  <a:gd name="T1" fmla="*/ 0 h 112"/>
                  <a:gd name="T2" fmla="*/ 0 w 7"/>
                  <a:gd name="T3" fmla="*/ 111 h 112"/>
                  <a:gd name="T4" fmla="*/ 7 w 7"/>
                  <a:gd name="T5" fmla="*/ 112 h 112"/>
                  <a:gd name="T6" fmla="*/ 7 w 7"/>
                  <a:gd name="T7" fmla="*/ 0 h 112"/>
                  <a:gd name="T8" fmla="*/ 0 w 7"/>
                  <a:gd name="T9" fmla="*/ 0 h 1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2"/>
                  <a:gd name="T17" fmla="*/ 7 w 7"/>
                  <a:gd name="T18" fmla="*/ 112 h 1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2">
                    <a:moveTo>
                      <a:pt x="0" y="0"/>
                    </a:moveTo>
                    <a:lnTo>
                      <a:pt x="0" y="111"/>
                    </a:lnTo>
                    <a:lnTo>
                      <a:pt x="7" y="112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4" name="Freeform 113"/>
              <p:cNvSpPr>
                <a:spLocks/>
              </p:cNvSpPr>
              <p:nvPr/>
            </p:nvSpPr>
            <p:spPr bwMode="auto">
              <a:xfrm>
                <a:off x="712" y="2130"/>
                <a:ext cx="9" cy="0"/>
              </a:xfrm>
              <a:custGeom>
                <a:avLst/>
                <a:gdLst>
                  <a:gd name="T0" fmla="*/ 0 w 8"/>
                  <a:gd name="T1" fmla="*/ 0 h 3"/>
                  <a:gd name="T2" fmla="*/ 362 w 8"/>
                  <a:gd name="T3" fmla="*/ 0 h 3"/>
                  <a:gd name="T4" fmla="*/ 407 w 8"/>
                  <a:gd name="T5" fmla="*/ 0 h 3"/>
                  <a:gd name="T6" fmla="*/ 1 w 8"/>
                  <a:gd name="T7" fmla="*/ 0 h 3"/>
                  <a:gd name="T8" fmla="*/ 0 w 8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3"/>
                  <a:gd name="T17" fmla="*/ 8 w 8"/>
                  <a:gd name="T18" fmla="*/ 0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3">
                    <a:moveTo>
                      <a:pt x="0" y="3"/>
                    </a:moveTo>
                    <a:lnTo>
                      <a:pt x="7" y="3"/>
                    </a:lnTo>
                    <a:lnTo>
                      <a:pt x="8" y="2"/>
                    </a:lnTo>
                    <a:lnTo>
                      <a:pt x="1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5" name="Freeform 114"/>
              <p:cNvSpPr>
                <a:spLocks/>
              </p:cNvSpPr>
              <p:nvPr/>
            </p:nvSpPr>
            <p:spPr bwMode="auto">
              <a:xfrm>
                <a:off x="712" y="2242"/>
                <a:ext cx="9" cy="2"/>
              </a:xfrm>
              <a:custGeom>
                <a:avLst/>
                <a:gdLst>
                  <a:gd name="T0" fmla="*/ 0 w 8"/>
                  <a:gd name="T1" fmla="*/ 1 h 4"/>
                  <a:gd name="T2" fmla="*/ 1 w 8"/>
                  <a:gd name="T3" fmla="*/ 1 h 4"/>
                  <a:gd name="T4" fmla="*/ 407 w 8"/>
                  <a:gd name="T5" fmla="*/ 1 h 4"/>
                  <a:gd name="T6" fmla="*/ 407 w 8"/>
                  <a:gd name="T7" fmla="*/ 1 h 4"/>
                  <a:gd name="T8" fmla="*/ 361 w 8"/>
                  <a:gd name="T9" fmla="*/ 0 h 4"/>
                  <a:gd name="T10" fmla="*/ 0 w 8"/>
                  <a:gd name="T11" fmla="*/ 1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4"/>
                  <a:gd name="T20" fmla="*/ 8 w 8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4">
                    <a:moveTo>
                      <a:pt x="0" y="2"/>
                    </a:moveTo>
                    <a:lnTo>
                      <a:pt x="1" y="3"/>
                    </a:lnTo>
                    <a:lnTo>
                      <a:pt x="8" y="4"/>
                    </a:lnTo>
                    <a:lnTo>
                      <a:pt x="8" y="3"/>
                    </a:lnTo>
                    <a:lnTo>
                      <a:pt x="6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6" name="Freeform 115"/>
              <p:cNvSpPr>
                <a:spLocks/>
              </p:cNvSpPr>
              <p:nvPr/>
            </p:nvSpPr>
            <p:spPr bwMode="auto">
              <a:xfrm>
                <a:off x="712" y="2133"/>
                <a:ext cx="7" cy="112"/>
              </a:xfrm>
              <a:custGeom>
                <a:avLst/>
                <a:gdLst>
                  <a:gd name="T0" fmla="*/ 0 w 7"/>
                  <a:gd name="T1" fmla="*/ 0 h 110"/>
                  <a:gd name="T2" fmla="*/ 0 w 7"/>
                  <a:gd name="T3" fmla="*/ 197 h 110"/>
                  <a:gd name="T4" fmla="*/ 7 w 7"/>
                  <a:gd name="T5" fmla="*/ 199 h 110"/>
                  <a:gd name="T6" fmla="*/ 7 w 7"/>
                  <a:gd name="T7" fmla="*/ 0 h 110"/>
                  <a:gd name="T8" fmla="*/ 0 w 7"/>
                  <a:gd name="T9" fmla="*/ 0 h 1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0"/>
                  <a:gd name="T17" fmla="*/ 7 w 7"/>
                  <a:gd name="T18" fmla="*/ 110 h 1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0">
                    <a:moveTo>
                      <a:pt x="0" y="0"/>
                    </a:moveTo>
                    <a:lnTo>
                      <a:pt x="0" y="109"/>
                    </a:lnTo>
                    <a:lnTo>
                      <a:pt x="7" y="110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7" name="Freeform 116"/>
              <p:cNvSpPr>
                <a:spLocks/>
              </p:cNvSpPr>
              <p:nvPr/>
            </p:nvSpPr>
            <p:spPr bwMode="auto">
              <a:xfrm>
                <a:off x="722" y="2135"/>
                <a:ext cx="7" cy="114"/>
              </a:xfrm>
              <a:custGeom>
                <a:avLst/>
                <a:gdLst>
                  <a:gd name="T0" fmla="*/ 0 w 6"/>
                  <a:gd name="T1" fmla="*/ 0 h 113"/>
                  <a:gd name="T2" fmla="*/ 0 w 6"/>
                  <a:gd name="T3" fmla="*/ 146 h 113"/>
                  <a:gd name="T4" fmla="*/ 1210 w 6"/>
                  <a:gd name="T5" fmla="*/ 147 h 113"/>
                  <a:gd name="T6" fmla="*/ 1210 w 6"/>
                  <a:gd name="T7" fmla="*/ 0 h 113"/>
                  <a:gd name="T8" fmla="*/ 0 w 6"/>
                  <a:gd name="T9" fmla="*/ 0 h 1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13"/>
                  <a:gd name="T17" fmla="*/ 6 w 6"/>
                  <a:gd name="T18" fmla="*/ 113 h 1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13">
                    <a:moveTo>
                      <a:pt x="0" y="0"/>
                    </a:moveTo>
                    <a:lnTo>
                      <a:pt x="0" y="112"/>
                    </a:lnTo>
                    <a:lnTo>
                      <a:pt x="6" y="113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8" name="Freeform 117"/>
              <p:cNvSpPr>
                <a:spLocks/>
              </p:cNvSpPr>
              <p:nvPr/>
            </p:nvSpPr>
            <p:spPr bwMode="auto">
              <a:xfrm>
                <a:off x="722" y="2133"/>
                <a:ext cx="7" cy="2"/>
              </a:xfrm>
              <a:custGeom>
                <a:avLst/>
                <a:gdLst>
                  <a:gd name="T0" fmla="*/ 0 w 7"/>
                  <a:gd name="T1" fmla="*/ 2 h 2"/>
                  <a:gd name="T2" fmla="*/ 6 w 7"/>
                  <a:gd name="T3" fmla="*/ 2 h 2"/>
                  <a:gd name="T4" fmla="*/ 7 w 7"/>
                  <a:gd name="T5" fmla="*/ 1 h 2"/>
                  <a:gd name="T6" fmla="*/ 0 w 7"/>
                  <a:gd name="T7" fmla="*/ 0 h 2"/>
                  <a:gd name="T8" fmla="*/ 0 w 7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2"/>
                    </a:moveTo>
                    <a:lnTo>
                      <a:pt x="6" y="2"/>
                    </a:lnTo>
                    <a:lnTo>
                      <a:pt x="7" y="1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9" name="Freeform 118"/>
              <p:cNvSpPr>
                <a:spLocks/>
              </p:cNvSpPr>
              <p:nvPr/>
            </p:nvSpPr>
            <p:spPr bwMode="auto">
              <a:xfrm>
                <a:off x="722" y="2245"/>
                <a:ext cx="7" cy="7"/>
              </a:xfrm>
              <a:custGeom>
                <a:avLst/>
                <a:gdLst>
                  <a:gd name="T0" fmla="*/ 0 w 7"/>
                  <a:gd name="T1" fmla="*/ 2147483647 h 3"/>
                  <a:gd name="T2" fmla="*/ 1 w 7"/>
                  <a:gd name="T3" fmla="*/ 2147483647 h 3"/>
                  <a:gd name="T4" fmla="*/ 7 w 7"/>
                  <a:gd name="T5" fmla="*/ 2147483647 h 3"/>
                  <a:gd name="T6" fmla="*/ 7 w 7"/>
                  <a:gd name="T7" fmla="*/ 2147483647 h 3"/>
                  <a:gd name="T8" fmla="*/ 5 w 7"/>
                  <a:gd name="T9" fmla="*/ 0 h 3"/>
                  <a:gd name="T10" fmla="*/ 0 w 7"/>
                  <a:gd name="T11" fmla="*/ 2147483647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3"/>
                  <a:gd name="T20" fmla="*/ 7 w 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3">
                    <a:moveTo>
                      <a:pt x="0" y="1"/>
                    </a:moveTo>
                    <a:lnTo>
                      <a:pt x="1" y="2"/>
                    </a:lnTo>
                    <a:lnTo>
                      <a:pt x="7" y="3"/>
                    </a:lnTo>
                    <a:lnTo>
                      <a:pt x="7" y="2"/>
                    </a:lnTo>
                    <a:lnTo>
                      <a:pt x="5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0" name="Freeform 119"/>
              <p:cNvSpPr>
                <a:spLocks/>
              </p:cNvSpPr>
              <p:nvPr/>
            </p:nvSpPr>
            <p:spPr bwMode="auto">
              <a:xfrm>
                <a:off x="722" y="2135"/>
                <a:ext cx="2" cy="112"/>
              </a:xfrm>
              <a:custGeom>
                <a:avLst/>
                <a:gdLst>
                  <a:gd name="T0" fmla="*/ 0 w 6"/>
                  <a:gd name="T1" fmla="*/ 0 h 112"/>
                  <a:gd name="T2" fmla="*/ 0 w 6"/>
                  <a:gd name="T3" fmla="*/ 111 h 112"/>
                  <a:gd name="T4" fmla="*/ 1 w 6"/>
                  <a:gd name="T5" fmla="*/ 112 h 112"/>
                  <a:gd name="T6" fmla="*/ 1 w 6"/>
                  <a:gd name="T7" fmla="*/ 1 h 112"/>
                  <a:gd name="T8" fmla="*/ 0 w 6"/>
                  <a:gd name="T9" fmla="*/ 0 h 1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12"/>
                  <a:gd name="T17" fmla="*/ 6 w 6"/>
                  <a:gd name="T18" fmla="*/ 112 h 1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12">
                    <a:moveTo>
                      <a:pt x="0" y="0"/>
                    </a:moveTo>
                    <a:lnTo>
                      <a:pt x="0" y="111"/>
                    </a:lnTo>
                    <a:lnTo>
                      <a:pt x="6" y="112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1" name="Freeform 120"/>
              <p:cNvSpPr>
                <a:spLocks/>
              </p:cNvSpPr>
              <p:nvPr/>
            </p:nvSpPr>
            <p:spPr bwMode="auto">
              <a:xfrm>
                <a:off x="731" y="2137"/>
                <a:ext cx="7" cy="114"/>
              </a:xfrm>
              <a:custGeom>
                <a:avLst/>
                <a:gdLst>
                  <a:gd name="T0" fmla="*/ 0 w 7"/>
                  <a:gd name="T1" fmla="*/ 0 h 114"/>
                  <a:gd name="T2" fmla="*/ 0 w 7"/>
                  <a:gd name="T3" fmla="*/ 113 h 114"/>
                  <a:gd name="T4" fmla="*/ 7 w 7"/>
                  <a:gd name="T5" fmla="*/ 114 h 114"/>
                  <a:gd name="T6" fmla="*/ 7 w 7"/>
                  <a:gd name="T7" fmla="*/ 0 h 114"/>
                  <a:gd name="T8" fmla="*/ 0 w 7"/>
                  <a:gd name="T9" fmla="*/ 0 h 1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4"/>
                  <a:gd name="T17" fmla="*/ 7 w 7"/>
                  <a:gd name="T18" fmla="*/ 114 h 1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4">
                    <a:moveTo>
                      <a:pt x="0" y="0"/>
                    </a:moveTo>
                    <a:lnTo>
                      <a:pt x="0" y="113"/>
                    </a:lnTo>
                    <a:lnTo>
                      <a:pt x="7" y="114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2" name="Freeform 121"/>
              <p:cNvSpPr>
                <a:spLocks/>
              </p:cNvSpPr>
              <p:nvPr/>
            </p:nvSpPr>
            <p:spPr bwMode="auto">
              <a:xfrm>
                <a:off x="729" y="2135"/>
                <a:ext cx="9" cy="2"/>
              </a:xfrm>
              <a:custGeom>
                <a:avLst/>
                <a:gdLst>
                  <a:gd name="T0" fmla="*/ 0 w 8"/>
                  <a:gd name="T1" fmla="*/ 2147483647 h 1"/>
                  <a:gd name="T2" fmla="*/ 362 w 8"/>
                  <a:gd name="T3" fmla="*/ 2147483647 h 1"/>
                  <a:gd name="T4" fmla="*/ 407 w 8"/>
                  <a:gd name="T5" fmla="*/ 0 h 1"/>
                  <a:gd name="T6" fmla="*/ 1 w 8"/>
                  <a:gd name="T7" fmla="*/ 0 h 1"/>
                  <a:gd name="T8" fmla="*/ 0 w 8"/>
                  <a:gd name="T9" fmla="*/ 2147483647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1"/>
                  <a:gd name="T17" fmla="*/ 8 w 8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1">
                    <a:moveTo>
                      <a:pt x="0" y="1"/>
                    </a:moveTo>
                    <a:lnTo>
                      <a:pt x="7" y="1"/>
                    </a:lnTo>
                    <a:lnTo>
                      <a:pt x="8" y="0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3" name="Freeform 122"/>
              <p:cNvSpPr>
                <a:spLocks/>
              </p:cNvSpPr>
              <p:nvPr/>
            </p:nvSpPr>
            <p:spPr bwMode="auto">
              <a:xfrm>
                <a:off x="729" y="2249"/>
                <a:ext cx="9" cy="2"/>
              </a:xfrm>
              <a:custGeom>
                <a:avLst/>
                <a:gdLst>
                  <a:gd name="T0" fmla="*/ 0 w 8"/>
                  <a:gd name="T1" fmla="*/ 0 h 4"/>
                  <a:gd name="T2" fmla="*/ 1 w 8"/>
                  <a:gd name="T3" fmla="*/ 1 h 4"/>
                  <a:gd name="T4" fmla="*/ 407 w 8"/>
                  <a:gd name="T5" fmla="*/ 1 h 4"/>
                  <a:gd name="T6" fmla="*/ 407 w 8"/>
                  <a:gd name="T7" fmla="*/ 1 h 4"/>
                  <a:gd name="T8" fmla="*/ 361 w 8"/>
                  <a:gd name="T9" fmla="*/ 0 h 4"/>
                  <a:gd name="T10" fmla="*/ 0 w 8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4"/>
                  <a:gd name="T20" fmla="*/ 8 w 8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4">
                    <a:moveTo>
                      <a:pt x="0" y="0"/>
                    </a:moveTo>
                    <a:lnTo>
                      <a:pt x="1" y="2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4" name="Freeform 123"/>
              <p:cNvSpPr>
                <a:spLocks/>
              </p:cNvSpPr>
              <p:nvPr/>
            </p:nvSpPr>
            <p:spPr bwMode="auto">
              <a:xfrm>
                <a:off x="729" y="2137"/>
                <a:ext cx="7" cy="114"/>
              </a:xfrm>
              <a:custGeom>
                <a:avLst/>
                <a:gdLst>
                  <a:gd name="T0" fmla="*/ 0 w 7"/>
                  <a:gd name="T1" fmla="*/ 0 h 113"/>
                  <a:gd name="T2" fmla="*/ 0 w 7"/>
                  <a:gd name="T3" fmla="*/ 145 h 113"/>
                  <a:gd name="T4" fmla="*/ 7 w 7"/>
                  <a:gd name="T5" fmla="*/ 147 h 113"/>
                  <a:gd name="T6" fmla="*/ 7 w 7"/>
                  <a:gd name="T7" fmla="*/ 1 h 113"/>
                  <a:gd name="T8" fmla="*/ 0 w 7"/>
                  <a:gd name="T9" fmla="*/ 0 h 1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3"/>
                  <a:gd name="T17" fmla="*/ 7 w 7"/>
                  <a:gd name="T18" fmla="*/ 113 h 1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3">
                    <a:moveTo>
                      <a:pt x="0" y="0"/>
                    </a:moveTo>
                    <a:lnTo>
                      <a:pt x="0" y="111"/>
                    </a:lnTo>
                    <a:lnTo>
                      <a:pt x="7" y="113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5" name="Freeform 124"/>
              <p:cNvSpPr>
                <a:spLocks/>
              </p:cNvSpPr>
              <p:nvPr/>
            </p:nvSpPr>
            <p:spPr bwMode="auto">
              <a:xfrm>
                <a:off x="738" y="2137"/>
                <a:ext cx="7" cy="116"/>
              </a:xfrm>
              <a:custGeom>
                <a:avLst/>
                <a:gdLst>
                  <a:gd name="T0" fmla="*/ 0 w 7"/>
                  <a:gd name="T1" fmla="*/ 0 h 116"/>
                  <a:gd name="T2" fmla="*/ 0 w 7"/>
                  <a:gd name="T3" fmla="*/ 115 h 116"/>
                  <a:gd name="T4" fmla="*/ 7 w 7"/>
                  <a:gd name="T5" fmla="*/ 116 h 116"/>
                  <a:gd name="T6" fmla="*/ 7 w 7"/>
                  <a:gd name="T7" fmla="*/ 0 h 116"/>
                  <a:gd name="T8" fmla="*/ 0 w 7"/>
                  <a:gd name="T9" fmla="*/ 0 h 1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6"/>
                  <a:gd name="T17" fmla="*/ 7 w 7"/>
                  <a:gd name="T18" fmla="*/ 116 h 1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6">
                    <a:moveTo>
                      <a:pt x="0" y="0"/>
                    </a:moveTo>
                    <a:lnTo>
                      <a:pt x="0" y="115"/>
                    </a:lnTo>
                    <a:lnTo>
                      <a:pt x="7" y="116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6" name="Freeform 125"/>
              <p:cNvSpPr>
                <a:spLocks/>
              </p:cNvSpPr>
              <p:nvPr/>
            </p:nvSpPr>
            <p:spPr bwMode="auto">
              <a:xfrm>
                <a:off x="738" y="2137"/>
                <a:ext cx="7" cy="0"/>
              </a:xfrm>
              <a:custGeom>
                <a:avLst/>
                <a:gdLst>
                  <a:gd name="T0" fmla="*/ 0 w 7"/>
                  <a:gd name="T1" fmla="*/ 0 h 1"/>
                  <a:gd name="T2" fmla="*/ 5 w 7"/>
                  <a:gd name="T3" fmla="*/ 0 h 1"/>
                  <a:gd name="T4" fmla="*/ 7 w 7"/>
                  <a:gd name="T5" fmla="*/ 0 h 1"/>
                  <a:gd name="T6" fmla="*/ 0 w 7"/>
                  <a:gd name="T7" fmla="*/ 0 h 1"/>
                  <a:gd name="T8" fmla="*/ 0 w 7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"/>
                  <a:gd name="T17" fmla="*/ 7 w 7"/>
                  <a:gd name="T18" fmla="*/ 0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">
                    <a:moveTo>
                      <a:pt x="0" y="1"/>
                    </a:moveTo>
                    <a:lnTo>
                      <a:pt x="5" y="1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7" name="Freeform 126"/>
              <p:cNvSpPr>
                <a:spLocks/>
              </p:cNvSpPr>
              <p:nvPr/>
            </p:nvSpPr>
            <p:spPr bwMode="auto">
              <a:xfrm>
                <a:off x="738" y="2251"/>
                <a:ext cx="7" cy="2"/>
              </a:xfrm>
              <a:custGeom>
                <a:avLst/>
                <a:gdLst>
                  <a:gd name="T0" fmla="*/ 0 w 7"/>
                  <a:gd name="T1" fmla="*/ 0 h 3"/>
                  <a:gd name="T2" fmla="*/ 0 w 7"/>
                  <a:gd name="T3" fmla="*/ 1 h 3"/>
                  <a:gd name="T4" fmla="*/ 7 w 7"/>
                  <a:gd name="T5" fmla="*/ 1 h 3"/>
                  <a:gd name="T6" fmla="*/ 7 w 7"/>
                  <a:gd name="T7" fmla="*/ 1 h 3"/>
                  <a:gd name="T8" fmla="*/ 4 w 7"/>
                  <a:gd name="T9" fmla="*/ 0 h 3"/>
                  <a:gd name="T10" fmla="*/ 0 w 7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3"/>
                  <a:gd name="T20" fmla="*/ 7 w 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3">
                    <a:moveTo>
                      <a:pt x="0" y="0"/>
                    </a:moveTo>
                    <a:lnTo>
                      <a:pt x="0" y="1"/>
                    </a:lnTo>
                    <a:lnTo>
                      <a:pt x="7" y="3"/>
                    </a:lnTo>
                    <a:lnTo>
                      <a:pt x="7" y="1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8" name="Freeform 127"/>
              <p:cNvSpPr>
                <a:spLocks/>
              </p:cNvSpPr>
              <p:nvPr/>
            </p:nvSpPr>
            <p:spPr bwMode="auto">
              <a:xfrm>
                <a:off x="738" y="2137"/>
                <a:ext cx="5" cy="114"/>
              </a:xfrm>
              <a:custGeom>
                <a:avLst/>
                <a:gdLst>
                  <a:gd name="T0" fmla="*/ 0 w 5"/>
                  <a:gd name="T1" fmla="*/ 0 h 114"/>
                  <a:gd name="T2" fmla="*/ 0 w 5"/>
                  <a:gd name="T3" fmla="*/ 113 h 114"/>
                  <a:gd name="T4" fmla="*/ 5 w 5"/>
                  <a:gd name="T5" fmla="*/ 114 h 114"/>
                  <a:gd name="T6" fmla="*/ 5 w 5"/>
                  <a:gd name="T7" fmla="*/ 0 h 114"/>
                  <a:gd name="T8" fmla="*/ 0 w 5"/>
                  <a:gd name="T9" fmla="*/ 0 h 1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114"/>
                  <a:gd name="T17" fmla="*/ 5 w 5"/>
                  <a:gd name="T18" fmla="*/ 114 h 1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114">
                    <a:moveTo>
                      <a:pt x="0" y="0"/>
                    </a:moveTo>
                    <a:lnTo>
                      <a:pt x="0" y="113"/>
                    </a:lnTo>
                    <a:lnTo>
                      <a:pt x="5" y="114"/>
                    </a:lnTo>
                    <a:lnTo>
                      <a:pt x="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9" name="Freeform 128"/>
              <p:cNvSpPr>
                <a:spLocks/>
              </p:cNvSpPr>
              <p:nvPr/>
            </p:nvSpPr>
            <p:spPr bwMode="auto">
              <a:xfrm>
                <a:off x="748" y="2140"/>
                <a:ext cx="7" cy="119"/>
              </a:xfrm>
              <a:custGeom>
                <a:avLst/>
                <a:gdLst>
                  <a:gd name="T0" fmla="*/ 0 w 7"/>
                  <a:gd name="T1" fmla="*/ 0 h 117"/>
                  <a:gd name="T2" fmla="*/ 0 w 7"/>
                  <a:gd name="T3" fmla="*/ 201 h 117"/>
                  <a:gd name="T4" fmla="*/ 7 w 7"/>
                  <a:gd name="T5" fmla="*/ 204 h 117"/>
                  <a:gd name="T6" fmla="*/ 7 w 7"/>
                  <a:gd name="T7" fmla="*/ 0 h 117"/>
                  <a:gd name="T8" fmla="*/ 0 w 7"/>
                  <a:gd name="T9" fmla="*/ 0 h 1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7"/>
                  <a:gd name="T17" fmla="*/ 7 w 7"/>
                  <a:gd name="T18" fmla="*/ 117 h 1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7">
                    <a:moveTo>
                      <a:pt x="0" y="0"/>
                    </a:moveTo>
                    <a:lnTo>
                      <a:pt x="0" y="115"/>
                    </a:lnTo>
                    <a:lnTo>
                      <a:pt x="7" y="117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0" name="Freeform 129"/>
              <p:cNvSpPr>
                <a:spLocks/>
              </p:cNvSpPr>
              <p:nvPr/>
            </p:nvSpPr>
            <p:spPr bwMode="auto">
              <a:xfrm>
                <a:off x="748" y="2137"/>
                <a:ext cx="7" cy="2"/>
              </a:xfrm>
              <a:custGeom>
                <a:avLst/>
                <a:gdLst>
                  <a:gd name="T0" fmla="*/ 0 w 7"/>
                  <a:gd name="T1" fmla="*/ 1 h 3"/>
                  <a:gd name="T2" fmla="*/ 7 w 7"/>
                  <a:gd name="T3" fmla="*/ 1 h 3"/>
                  <a:gd name="T4" fmla="*/ 7 w 7"/>
                  <a:gd name="T5" fmla="*/ 1 h 3"/>
                  <a:gd name="T6" fmla="*/ 0 w 7"/>
                  <a:gd name="T7" fmla="*/ 0 h 3"/>
                  <a:gd name="T8" fmla="*/ 0 w 7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3"/>
                  <a:gd name="T17" fmla="*/ 7 w 7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3">
                    <a:moveTo>
                      <a:pt x="0" y="2"/>
                    </a:moveTo>
                    <a:lnTo>
                      <a:pt x="7" y="3"/>
                    </a:lnTo>
                    <a:lnTo>
                      <a:pt x="7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1" name="Freeform 130"/>
              <p:cNvSpPr>
                <a:spLocks/>
              </p:cNvSpPr>
              <p:nvPr/>
            </p:nvSpPr>
            <p:spPr bwMode="auto">
              <a:xfrm>
                <a:off x="748" y="2254"/>
                <a:ext cx="7" cy="5"/>
              </a:xfrm>
              <a:custGeom>
                <a:avLst/>
                <a:gdLst>
                  <a:gd name="T0" fmla="*/ 0 w 8"/>
                  <a:gd name="T1" fmla="*/ 1 h 5"/>
                  <a:gd name="T2" fmla="*/ 1 w 8"/>
                  <a:gd name="T3" fmla="*/ 2 h 5"/>
                  <a:gd name="T4" fmla="*/ 4 w 8"/>
                  <a:gd name="T5" fmla="*/ 5 h 5"/>
                  <a:gd name="T6" fmla="*/ 4 w 8"/>
                  <a:gd name="T7" fmla="*/ 2 h 5"/>
                  <a:gd name="T8" fmla="*/ 4 w 8"/>
                  <a:gd name="T9" fmla="*/ 0 h 5"/>
                  <a:gd name="T10" fmla="*/ 0 w 8"/>
                  <a:gd name="T11" fmla="*/ 1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5"/>
                  <a:gd name="T20" fmla="*/ 8 w 8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5">
                    <a:moveTo>
                      <a:pt x="0" y="1"/>
                    </a:moveTo>
                    <a:lnTo>
                      <a:pt x="1" y="2"/>
                    </a:lnTo>
                    <a:lnTo>
                      <a:pt x="8" y="5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2" name="Freeform 131"/>
              <p:cNvSpPr>
                <a:spLocks/>
              </p:cNvSpPr>
              <p:nvPr/>
            </p:nvSpPr>
            <p:spPr bwMode="auto">
              <a:xfrm>
                <a:off x="748" y="2140"/>
                <a:ext cx="7" cy="116"/>
              </a:xfrm>
              <a:custGeom>
                <a:avLst/>
                <a:gdLst>
                  <a:gd name="T0" fmla="*/ 0 w 7"/>
                  <a:gd name="T1" fmla="*/ 0 h 115"/>
                  <a:gd name="T2" fmla="*/ 0 w 7"/>
                  <a:gd name="T3" fmla="*/ 148 h 115"/>
                  <a:gd name="T4" fmla="*/ 7 w 7"/>
                  <a:gd name="T5" fmla="*/ 149 h 115"/>
                  <a:gd name="T6" fmla="*/ 7 w 7"/>
                  <a:gd name="T7" fmla="*/ 1 h 115"/>
                  <a:gd name="T8" fmla="*/ 0 w 7"/>
                  <a:gd name="T9" fmla="*/ 0 h 1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5"/>
                  <a:gd name="T17" fmla="*/ 7 w 7"/>
                  <a:gd name="T18" fmla="*/ 115 h 1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5">
                    <a:moveTo>
                      <a:pt x="0" y="0"/>
                    </a:moveTo>
                    <a:lnTo>
                      <a:pt x="0" y="114"/>
                    </a:lnTo>
                    <a:lnTo>
                      <a:pt x="7" y="115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3" name="Freeform 132"/>
              <p:cNvSpPr>
                <a:spLocks/>
              </p:cNvSpPr>
              <p:nvPr/>
            </p:nvSpPr>
            <p:spPr bwMode="auto">
              <a:xfrm>
                <a:off x="757" y="2140"/>
                <a:ext cx="7" cy="119"/>
              </a:xfrm>
              <a:custGeom>
                <a:avLst/>
                <a:gdLst>
                  <a:gd name="T0" fmla="*/ 0 w 7"/>
                  <a:gd name="T1" fmla="*/ 0 h 118"/>
                  <a:gd name="T2" fmla="*/ 0 w 7"/>
                  <a:gd name="T3" fmla="*/ 151 h 118"/>
                  <a:gd name="T4" fmla="*/ 7 w 7"/>
                  <a:gd name="T5" fmla="*/ 152 h 118"/>
                  <a:gd name="T6" fmla="*/ 7 w 7"/>
                  <a:gd name="T7" fmla="*/ 0 h 118"/>
                  <a:gd name="T8" fmla="*/ 0 w 7"/>
                  <a:gd name="T9" fmla="*/ 0 h 1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8"/>
                  <a:gd name="T17" fmla="*/ 7 w 7"/>
                  <a:gd name="T18" fmla="*/ 118 h 1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8">
                    <a:moveTo>
                      <a:pt x="0" y="0"/>
                    </a:moveTo>
                    <a:lnTo>
                      <a:pt x="0" y="117"/>
                    </a:lnTo>
                    <a:lnTo>
                      <a:pt x="7" y="118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4" name="Freeform 133"/>
              <p:cNvSpPr>
                <a:spLocks/>
              </p:cNvSpPr>
              <p:nvPr/>
            </p:nvSpPr>
            <p:spPr bwMode="auto">
              <a:xfrm>
                <a:off x="755" y="2140"/>
                <a:ext cx="9" cy="2"/>
              </a:xfrm>
              <a:custGeom>
                <a:avLst/>
                <a:gdLst>
                  <a:gd name="T0" fmla="*/ 0 w 8"/>
                  <a:gd name="T1" fmla="*/ 2 h 2"/>
                  <a:gd name="T2" fmla="*/ 362 w 8"/>
                  <a:gd name="T3" fmla="*/ 2 h 2"/>
                  <a:gd name="T4" fmla="*/ 407 w 8"/>
                  <a:gd name="T5" fmla="*/ 1 h 2"/>
                  <a:gd name="T6" fmla="*/ 1 w 8"/>
                  <a:gd name="T7" fmla="*/ 0 h 2"/>
                  <a:gd name="T8" fmla="*/ 0 w 8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2"/>
                  <a:gd name="T17" fmla="*/ 8 w 8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2">
                    <a:moveTo>
                      <a:pt x="0" y="2"/>
                    </a:moveTo>
                    <a:lnTo>
                      <a:pt x="7" y="2"/>
                    </a:lnTo>
                    <a:lnTo>
                      <a:pt x="8" y="1"/>
                    </a:lnTo>
                    <a:lnTo>
                      <a:pt x="1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5" name="Freeform 134"/>
              <p:cNvSpPr>
                <a:spLocks/>
              </p:cNvSpPr>
              <p:nvPr/>
            </p:nvSpPr>
            <p:spPr bwMode="auto">
              <a:xfrm>
                <a:off x="755" y="2258"/>
                <a:ext cx="9" cy="2"/>
              </a:xfrm>
              <a:custGeom>
                <a:avLst/>
                <a:gdLst>
                  <a:gd name="T0" fmla="*/ 0 w 8"/>
                  <a:gd name="T1" fmla="*/ 0 h 3"/>
                  <a:gd name="T2" fmla="*/ 1 w 8"/>
                  <a:gd name="T3" fmla="*/ 1 h 3"/>
                  <a:gd name="T4" fmla="*/ 407 w 8"/>
                  <a:gd name="T5" fmla="*/ 1 h 3"/>
                  <a:gd name="T6" fmla="*/ 407 w 8"/>
                  <a:gd name="T7" fmla="*/ 1 h 3"/>
                  <a:gd name="T8" fmla="*/ 361 w 8"/>
                  <a:gd name="T9" fmla="*/ 0 h 3"/>
                  <a:gd name="T10" fmla="*/ 0 w 8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3"/>
                  <a:gd name="T20" fmla="*/ 8 w 8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3">
                    <a:moveTo>
                      <a:pt x="0" y="0"/>
                    </a:moveTo>
                    <a:lnTo>
                      <a:pt x="1" y="2"/>
                    </a:lnTo>
                    <a:lnTo>
                      <a:pt x="8" y="3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6" name="Freeform 135"/>
              <p:cNvSpPr>
                <a:spLocks/>
              </p:cNvSpPr>
              <p:nvPr/>
            </p:nvSpPr>
            <p:spPr bwMode="auto">
              <a:xfrm>
                <a:off x="755" y="2142"/>
                <a:ext cx="7" cy="116"/>
              </a:xfrm>
              <a:custGeom>
                <a:avLst/>
                <a:gdLst>
                  <a:gd name="T0" fmla="*/ 0 w 7"/>
                  <a:gd name="T1" fmla="*/ 0 h 116"/>
                  <a:gd name="T2" fmla="*/ 0 w 7"/>
                  <a:gd name="T3" fmla="*/ 115 h 116"/>
                  <a:gd name="T4" fmla="*/ 7 w 7"/>
                  <a:gd name="T5" fmla="*/ 116 h 116"/>
                  <a:gd name="T6" fmla="*/ 7 w 7"/>
                  <a:gd name="T7" fmla="*/ 0 h 116"/>
                  <a:gd name="T8" fmla="*/ 0 w 7"/>
                  <a:gd name="T9" fmla="*/ 0 h 1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6"/>
                  <a:gd name="T17" fmla="*/ 7 w 7"/>
                  <a:gd name="T18" fmla="*/ 116 h 1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6">
                    <a:moveTo>
                      <a:pt x="0" y="0"/>
                    </a:moveTo>
                    <a:lnTo>
                      <a:pt x="0" y="115"/>
                    </a:lnTo>
                    <a:lnTo>
                      <a:pt x="7" y="116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7" name="Freeform 136"/>
              <p:cNvSpPr>
                <a:spLocks/>
              </p:cNvSpPr>
              <p:nvPr/>
            </p:nvSpPr>
            <p:spPr bwMode="auto">
              <a:xfrm>
                <a:off x="653" y="2121"/>
                <a:ext cx="7" cy="105"/>
              </a:xfrm>
              <a:custGeom>
                <a:avLst/>
                <a:gdLst>
                  <a:gd name="T0" fmla="*/ 0 w 6"/>
                  <a:gd name="T1" fmla="*/ 0 h 103"/>
                  <a:gd name="T2" fmla="*/ 0 w 6"/>
                  <a:gd name="T3" fmla="*/ 193 h 103"/>
                  <a:gd name="T4" fmla="*/ 1210 w 6"/>
                  <a:gd name="T5" fmla="*/ 195 h 103"/>
                  <a:gd name="T6" fmla="*/ 1210 w 6"/>
                  <a:gd name="T7" fmla="*/ 0 h 103"/>
                  <a:gd name="T8" fmla="*/ 0 w 6"/>
                  <a:gd name="T9" fmla="*/ 0 h 10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03"/>
                  <a:gd name="T17" fmla="*/ 6 w 6"/>
                  <a:gd name="T18" fmla="*/ 103 h 10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03">
                    <a:moveTo>
                      <a:pt x="0" y="0"/>
                    </a:moveTo>
                    <a:lnTo>
                      <a:pt x="0" y="102"/>
                    </a:lnTo>
                    <a:lnTo>
                      <a:pt x="6" y="103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8" name="Freeform 137"/>
              <p:cNvSpPr>
                <a:spLocks/>
              </p:cNvSpPr>
              <p:nvPr/>
            </p:nvSpPr>
            <p:spPr bwMode="auto">
              <a:xfrm>
                <a:off x="653" y="2121"/>
                <a:ext cx="7" cy="2"/>
              </a:xfrm>
              <a:custGeom>
                <a:avLst/>
                <a:gdLst>
                  <a:gd name="T0" fmla="*/ 0 w 7"/>
                  <a:gd name="T1" fmla="*/ 2147483647 h 1"/>
                  <a:gd name="T2" fmla="*/ 6 w 7"/>
                  <a:gd name="T3" fmla="*/ 2147483647 h 1"/>
                  <a:gd name="T4" fmla="*/ 7 w 7"/>
                  <a:gd name="T5" fmla="*/ 0 h 1"/>
                  <a:gd name="T6" fmla="*/ 0 w 7"/>
                  <a:gd name="T7" fmla="*/ 0 h 1"/>
                  <a:gd name="T8" fmla="*/ 0 w 7"/>
                  <a:gd name="T9" fmla="*/ 2147483647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"/>
                  <a:gd name="T17" fmla="*/ 7 w 7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">
                    <a:moveTo>
                      <a:pt x="0" y="1"/>
                    </a:moveTo>
                    <a:lnTo>
                      <a:pt x="6" y="1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9" name="Freeform 138"/>
              <p:cNvSpPr>
                <a:spLocks/>
              </p:cNvSpPr>
              <p:nvPr/>
            </p:nvSpPr>
            <p:spPr bwMode="auto">
              <a:xfrm>
                <a:off x="653" y="2221"/>
                <a:ext cx="7" cy="5"/>
              </a:xfrm>
              <a:custGeom>
                <a:avLst/>
                <a:gdLst>
                  <a:gd name="T0" fmla="*/ 0 w 7"/>
                  <a:gd name="T1" fmla="*/ 4929 h 4"/>
                  <a:gd name="T2" fmla="*/ 1 w 7"/>
                  <a:gd name="T3" fmla="*/ 6161 h 4"/>
                  <a:gd name="T4" fmla="*/ 7 w 7"/>
                  <a:gd name="T5" fmla="*/ 7701 h 4"/>
                  <a:gd name="T6" fmla="*/ 7 w 7"/>
                  <a:gd name="T7" fmla="*/ 6161 h 4"/>
                  <a:gd name="T8" fmla="*/ 5 w 7"/>
                  <a:gd name="T9" fmla="*/ 0 h 4"/>
                  <a:gd name="T10" fmla="*/ 0 w 7"/>
                  <a:gd name="T11" fmla="*/ 4929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4"/>
                  <a:gd name="T20" fmla="*/ 7 w 7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4">
                    <a:moveTo>
                      <a:pt x="0" y="2"/>
                    </a:moveTo>
                    <a:lnTo>
                      <a:pt x="1" y="3"/>
                    </a:lnTo>
                    <a:lnTo>
                      <a:pt x="7" y="4"/>
                    </a:lnTo>
                    <a:lnTo>
                      <a:pt x="7" y="3"/>
                    </a:lnTo>
                    <a:lnTo>
                      <a:pt x="5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40" name="Freeform 139"/>
              <p:cNvSpPr>
                <a:spLocks/>
              </p:cNvSpPr>
              <p:nvPr/>
            </p:nvSpPr>
            <p:spPr bwMode="auto">
              <a:xfrm>
                <a:off x="653" y="2212"/>
                <a:ext cx="5" cy="12"/>
              </a:xfrm>
              <a:custGeom>
                <a:avLst/>
                <a:gdLst>
                  <a:gd name="T0" fmla="*/ 0 w 6"/>
                  <a:gd name="T1" fmla="*/ 0 h 13"/>
                  <a:gd name="T2" fmla="*/ 0 w 6"/>
                  <a:gd name="T3" fmla="*/ 6 h 13"/>
                  <a:gd name="T4" fmla="*/ 3 w 6"/>
                  <a:gd name="T5" fmla="*/ 6 h 13"/>
                  <a:gd name="T6" fmla="*/ 3 w 6"/>
                  <a:gd name="T7" fmla="*/ 1 h 13"/>
                  <a:gd name="T8" fmla="*/ 0 w 6"/>
                  <a:gd name="T9" fmla="*/ 0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3"/>
                  <a:gd name="T17" fmla="*/ 6 w 6"/>
                  <a:gd name="T18" fmla="*/ 13 h 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3">
                    <a:moveTo>
                      <a:pt x="0" y="0"/>
                    </a:moveTo>
                    <a:lnTo>
                      <a:pt x="0" y="12"/>
                    </a:lnTo>
                    <a:lnTo>
                      <a:pt x="6" y="13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41" name="Freeform 140"/>
              <p:cNvSpPr>
                <a:spLocks/>
              </p:cNvSpPr>
              <p:nvPr/>
            </p:nvSpPr>
            <p:spPr bwMode="auto">
              <a:xfrm>
                <a:off x="653" y="2123"/>
                <a:ext cx="5" cy="75"/>
              </a:xfrm>
              <a:custGeom>
                <a:avLst/>
                <a:gdLst>
                  <a:gd name="T0" fmla="*/ 0 w 6"/>
                  <a:gd name="T1" fmla="*/ 0 h 75"/>
                  <a:gd name="T2" fmla="*/ 0 w 6"/>
                  <a:gd name="T3" fmla="*/ 74 h 75"/>
                  <a:gd name="T4" fmla="*/ 3 w 6"/>
                  <a:gd name="T5" fmla="*/ 75 h 75"/>
                  <a:gd name="T6" fmla="*/ 3 w 6"/>
                  <a:gd name="T7" fmla="*/ 1 h 75"/>
                  <a:gd name="T8" fmla="*/ 0 w 6"/>
                  <a:gd name="T9" fmla="*/ 0 h 7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75"/>
                  <a:gd name="T17" fmla="*/ 6 w 6"/>
                  <a:gd name="T18" fmla="*/ 75 h 7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75">
                    <a:moveTo>
                      <a:pt x="0" y="0"/>
                    </a:moveTo>
                    <a:lnTo>
                      <a:pt x="0" y="74"/>
                    </a:lnTo>
                    <a:lnTo>
                      <a:pt x="6" y="75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42" name="Freeform 141"/>
              <p:cNvSpPr>
                <a:spLocks/>
              </p:cNvSpPr>
              <p:nvPr/>
            </p:nvSpPr>
            <p:spPr bwMode="auto">
              <a:xfrm>
                <a:off x="653" y="2210"/>
                <a:ext cx="7" cy="2"/>
              </a:xfrm>
              <a:custGeom>
                <a:avLst/>
                <a:gdLst>
                  <a:gd name="T0" fmla="*/ 0 w 7"/>
                  <a:gd name="T1" fmla="*/ 1 h 3"/>
                  <a:gd name="T2" fmla="*/ 6 w 7"/>
                  <a:gd name="T3" fmla="*/ 1 h 3"/>
                  <a:gd name="T4" fmla="*/ 7 w 7"/>
                  <a:gd name="T5" fmla="*/ 1 h 3"/>
                  <a:gd name="T6" fmla="*/ 0 w 7"/>
                  <a:gd name="T7" fmla="*/ 0 h 3"/>
                  <a:gd name="T8" fmla="*/ 0 w 7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3"/>
                  <a:gd name="T17" fmla="*/ 7 w 7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3">
                    <a:moveTo>
                      <a:pt x="0" y="2"/>
                    </a:moveTo>
                    <a:lnTo>
                      <a:pt x="6" y="3"/>
                    </a:lnTo>
                    <a:lnTo>
                      <a:pt x="7" y="1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43" name="Freeform 142"/>
              <p:cNvSpPr>
                <a:spLocks/>
              </p:cNvSpPr>
              <p:nvPr/>
            </p:nvSpPr>
            <p:spPr bwMode="auto">
              <a:xfrm>
                <a:off x="653" y="2198"/>
                <a:ext cx="7" cy="0"/>
              </a:xfrm>
              <a:custGeom>
                <a:avLst/>
                <a:gdLst>
                  <a:gd name="T0" fmla="*/ 6 w 7"/>
                  <a:gd name="T1" fmla="*/ 0 h 2"/>
                  <a:gd name="T2" fmla="*/ 0 w 7"/>
                  <a:gd name="T3" fmla="*/ 0 h 2"/>
                  <a:gd name="T4" fmla="*/ 1 w 7"/>
                  <a:gd name="T5" fmla="*/ 0 h 2"/>
                  <a:gd name="T6" fmla="*/ 7 w 7"/>
                  <a:gd name="T7" fmla="*/ 0 h 2"/>
                  <a:gd name="T8" fmla="*/ 6 w 7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0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6" y="1"/>
                    </a:moveTo>
                    <a:lnTo>
                      <a:pt x="0" y="0"/>
                    </a:lnTo>
                    <a:lnTo>
                      <a:pt x="1" y="2"/>
                    </a:lnTo>
                    <a:lnTo>
                      <a:pt x="7" y="2"/>
                    </a:lnTo>
                    <a:lnTo>
                      <a:pt x="6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44" name="Rectangle 143"/>
              <p:cNvSpPr>
                <a:spLocks noChangeArrowheads="1"/>
              </p:cNvSpPr>
              <p:nvPr/>
            </p:nvSpPr>
            <p:spPr bwMode="auto">
              <a:xfrm>
                <a:off x="653" y="2205"/>
                <a:ext cx="5" cy="5"/>
              </a:xfrm>
              <a:prstGeom prst="rect">
                <a:avLst/>
              </a:prstGeom>
              <a:solidFill>
                <a:srgbClr val="2020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lnSpc>
                    <a:spcPct val="100000"/>
                  </a:lnSpc>
                  <a:spcBef>
                    <a:spcPct val="0"/>
                  </a:spcBef>
                  <a:defRPr/>
                </a:pPr>
                <a:endParaRPr lang="en-GB" sz="4000">
                  <a:latin typeface="+mn-lt"/>
                  <a:ea typeface="ＭＳ Ｐゴシック" pitchFamily="34" charset="-128"/>
                  <a:cs typeface="Arial" pitchFamily="34" charset="0"/>
                </a:endParaRPr>
              </a:p>
            </p:txBody>
          </p:sp>
          <p:sp>
            <p:nvSpPr>
              <p:cNvPr id="645" name="Freeform 144"/>
              <p:cNvSpPr>
                <a:spLocks/>
              </p:cNvSpPr>
              <p:nvPr/>
            </p:nvSpPr>
            <p:spPr bwMode="auto">
              <a:xfrm>
                <a:off x="764" y="2137"/>
                <a:ext cx="2" cy="128"/>
              </a:xfrm>
              <a:custGeom>
                <a:avLst/>
                <a:gdLst>
                  <a:gd name="T0" fmla="*/ 0 w 1"/>
                  <a:gd name="T1" fmla="*/ 161 h 127"/>
                  <a:gd name="T2" fmla="*/ 0 w 1"/>
                  <a:gd name="T3" fmla="*/ 158 h 127"/>
                  <a:gd name="T4" fmla="*/ 0 w 1"/>
                  <a:gd name="T5" fmla="*/ 0 h 127"/>
                  <a:gd name="T6" fmla="*/ 0 w 1"/>
                  <a:gd name="T7" fmla="*/ 0 h 127"/>
                  <a:gd name="T8" fmla="*/ 0 w 1"/>
                  <a:gd name="T9" fmla="*/ 161 h 12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127"/>
                  <a:gd name="T17" fmla="*/ 1 w 1"/>
                  <a:gd name="T18" fmla="*/ 127 h 12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127">
                    <a:moveTo>
                      <a:pt x="0" y="127"/>
                    </a:moveTo>
                    <a:lnTo>
                      <a:pt x="0" y="124"/>
                    </a:lnTo>
                    <a:lnTo>
                      <a:pt x="0" y="0"/>
                    </a:lnTo>
                    <a:lnTo>
                      <a:pt x="0" y="127"/>
                    </a:lnTo>
                    <a:close/>
                  </a:path>
                </a:pathLst>
              </a:custGeom>
              <a:solidFill>
                <a:srgbClr val="A0A0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46" name="Freeform 145"/>
              <p:cNvSpPr>
                <a:spLocks/>
              </p:cNvSpPr>
              <p:nvPr/>
            </p:nvSpPr>
            <p:spPr bwMode="auto">
              <a:xfrm>
                <a:off x="641" y="2116"/>
                <a:ext cx="3" cy="109"/>
              </a:xfrm>
              <a:custGeom>
                <a:avLst/>
                <a:gdLst>
                  <a:gd name="T0" fmla="*/ 0 w 1"/>
                  <a:gd name="T1" fmla="*/ 0 h 108"/>
                  <a:gd name="T2" fmla="*/ 0 w 1"/>
                  <a:gd name="T3" fmla="*/ 142 h 108"/>
                  <a:gd name="T4" fmla="*/ 0 w 1"/>
                  <a:gd name="T5" fmla="*/ 141 h 108"/>
                  <a:gd name="T6" fmla="*/ 0 w 1"/>
                  <a:gd name="T7" fmla="*/ 0 h 10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"/>
                  <a:gd name="T13" fmla="*/ 0 h 108"/>
                  <a:gd name="T14" fmla="*/ 1 w 1"/>
                  <a:gd name="T15" fmla="*/ 108 h 10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" h="108">
                    <a:moveTo>
                      <a:pt x="0" y="0"/>
                    </a:moveTo>
                    <a:lnTo>
                      <a:pt x="0" y="108"/>
                    </a:lnTo>
                    <a:lnTo>
                      <a:pt x="0" y="10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338" name="Freeform 146"/>
            <p:cNvSpPr>
              <a:spLocks/>
            </p:cNvSpPr>
            <p:nvPr/>
          </p:nvSpPr>
          <p:spPr bwMode="auto">
            <a:xfrm>
              <a:off x="778" y="1974"/>
              <a:ext cx="7" cy="370"/>
            </a:xfrm>
            <a:custGeom>
              <a:avLst/>
              <a:gdLst>
                <a:gd name="T0" fmla="*/ 0 w 7"/>
                <a:gd name="T1" fmla="*/ 2 h 370"/>
                <a:gd name="T2" fmla="*/ 0 w 7"/>
                <a:gd name="T3" fmla="*/ 370 h 370"/>
                <a:gd name="T4" fmla="*/ 7 w 7"/>
                <a:gd name="T5" fmla="*/ 363 h 370"/>
                <a:gd name="T6" fmla="*/ 7 w 7"/>
                <a:gd name="T7" fmla="*/ 0 h 370"/>
                <a:gd name="T8" fmla="*/ 0 w 7"/>
                <a:gd name="T9" fmla="*/ 2 h 37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70"/>
                <a:gd name="T17" fmla="*/ 7 w 7"/>
                <a:gd name="T18" fmla="*/ 370 h 37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70">
                  <a:moveTo>
                    <a:pt x="0" y="2"/>
                  </a:moveTo>
                  <a:lnTo>
                    <a:pt x="0" y="370"/>
                  </a:lnTo>
                  <a:lnTo>
                    <a:pt x="7" y="363"/>
                  </a:lnTo>
                  <a:lnTo>
                    <a:pt x="7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0A0A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sp>
          <p:nvSpPr>
            <p:cNvPr id="339" name="Freeform 147"/>
            <p:cNvSpPr>
              <a:spLocks/>
            </p:cNvSpPr>
            <p:nvPr/>
          </p:nvSpPr>
          <p:spPr bwMode="auto">
            <a:xfrm>
              <a:off x="632" y="1958"/>
              <a:ext cx="220" cy="21"/>
            </a:xfrm>
            <a:custGeom>
              <a:avLst/>
              <a:gdLst>
                <a:gd name="T0" fmla="*/ 0 w 220"/>
                <a:gd name="T1" fmla="*/ 101 h 20"/>
                <a:gd name="T2" fmla="*/ 147 w 220"/>
                <a:gd name="T3" fmla="*/ 96 h 20"/>
                <a:gd name="T4" fmla="*/ 220 w 220"/>
                <a:gd name="T5" fmla="*/ 0 h 20"/>
                <a:gd name="T6" fmla="*/ 96 w 220"/>
                <a:gd name="T7" fmla="*/ 3 h 20"/>
                <a:gd name="T8" fmla="*/ 0 w 220"/>
                <a:gd name="T9" fmla="*/ 101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0"/>
                <a:gd name="T16" fmla="*/ 0 h 20"/>
                <a:gd name="T17" fmla="*/ 220 w 220"/>
                <a:gd name="T18" fmla="*/ 20 h 2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0" h="20">
                  <a:moveTo>
                    <a:pt x="0" y="20"/>
                  </a:moveTo>
                  <a:lnTo>
                    <a:pt x="147" y="19"/>
                  </a:lnTo>
                  <a:lnTo>
                    <a:pt x="220" y="0"/>
                  </a:lnTo>
                  <a:lnTo>
                    <a:pt x="96" y="3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E0E0E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sp>
          <p:nvSpPr>
            <p:cNvPr id="340" name="Freeform 148"/>
            <p:cNvSpPr>
              <a:spLocks/>
            </p:cNvSpPr>
            <p:nvPr/>
          </p:nvSpPr>
          <p:spPr bwMode="auto">
            <a:xfrm>
              <a:off x="752" y="2279"/>
              <a:ext cx="9" cy="23"/>
            </a:xfrm>
            <a:custGeom>
              <a:avLst/>
              <a:gdLst>
                <a:gd name="T0" fmla="*/ 0 w 10"/>
                <a:gd name="T1" fmla="*/ 0 h 22"/>
                <a:gd name="T2" fmla="*/ 0 w 10"/>
                <a:gd name="T3" fmla="*/ 83 h 22"/>
                <a:gd name="T4" fmla="*/ 5 w 10"/>
                <a:gd name="T5" fmla="*/ 95 h 22"/>
                <a:gd name="T6" fmla="*/ 5 w 10"/>
                <a:gd name="T7" fmla="*/ 3 h 22"/>
                <a:gd name="T8" fmla="*/ 0 w 10"/>
                <a:gd name="T9" fmla="*/ 0 h 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22"/>
                <a:gd name="T17" fmla="*/ 10 w 10"/>
                <a:gd name="T18" fmla="*/ 22 h 2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22">
                  <a:moveTo>
                    <a:pt x="0" y="0"/>
                  </a:moveTo>
                  <a:lnTo>
                    <a:pt x="0" y="19"/>
                  </a:lnTo>
                  <a:lnTo>
                    <a:pt x="10" y="22"/>
                  </a:lnTo>
                  <a:lnTo>
                    <a:pt x="1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FF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grpSp>
          <p:nvGrpSpPr>
            <p:cNvPr id="357" name="Group 149"/>
            <p:cNvGrpSpPr>
              <a:grpSpLocks/>
            </p:cNvGrpSpPr>
            <p:nvPr/>
          </p:nvGrpSpPr>
          <p:grpSpPr bwMode="auto">
            <a:xfrm>
              <a:off x="791" y="1972"/>
              <a:ext cx="13" cy="28"/>
              <a:chOff x="791" y="1972"/>
              <a:chExt cx="13" cy="28"/>
            </a:xfrm>
          </p:grpSpPr>
          <p:grpSp>
            <p:nvGrpSpPr>
              <p:cNvPr id="570" name="Group 150"/>
              <p:cNvGrpSpPr>
                <a:grpSpLocks/>
              </p:cNvGrpSpPr>
              <p:nvPr/>
            </p:nvGrpSpPr>
            <p:grpSpPr bwMode="auto">
              <a:xfrm>
                <a:off x="791" y="1972"/>
                <a:ext cx="13" cy="28"/>
                <a:chOff x="791" y="1972"/>
                <a:chExt cx="13" cy="28"/>
              </a:xfrm>
            </p:grpSpPr>
            <p:sp>
              <p:nvSpPr>
                <p:cNvPr id="573" name="Line 151"/>
                <p:cNvSpPr>
                  <a:spLocks noChangeShapeType="1"/>
                </p:cNvSpPr>
                <p:nvPr/>
              </p:nvSpPr>
              <p:spPr bwMode="auto">
                <a:xfrm flipV="1">
                  <a:off x="791" y="1977"/>
                  <a:ext cx="2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74" name="Line 152"/>
                <p:cNvSpPr>
                  <a:spLocks noChangeShapeType="1"/>
                </p:cNvSpPr>
                <p:nvPr/>
              </p:nvSpPr>
              <p:spPr bwMode="auto">
                <a:xfrm>
                  <a:off x="793" y="1974"/>
                  <a:ext cx="0" cy="26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75" name="Line 153"/>
                <p:cNvSpPr>
                  <a:spLocks noChangeShapeType="1"/>
                </p:cNvSpPr>
                <p:nvPr/>
              </p:nvSpPr>
              <p:spPr bwMode="auto">
                <a:xfrm>
                  <a:off x="795" y="1974"/>
                  <a:ext cx="2" cy="26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76" name="Line 154"/>
                <p:cNvSpPr>
                  <a:spLocks noChangeShapeType="1"/>
                </p:cNvSpPr>
                <p:nvPr/>
              </p:nvSpPr>
              <p:spPr bwMode="auto">
                <a:xfrm>
                  <a:off x="797" y="1974"/>
                  <a:ext cx="0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77" name="Line 155"/>
                <p:cNvSpPr>
                  <a:spLocks noChangeShapeType="1"/>
                </p:cNvSpPr>
                <p:nvPr/>
              </p:nvSpPr>
              <p:spPr bwMode="auto">
                <a:xfrm>
                  <a:off x="798" y="1974"/>
                  <a:ext cx="0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78" name="Line 156"/>
                <p:cNvSpPr>
                  <a:spLocks noChangeShapeType="1"/>
                </p:cNvSpPr>
                <p:nvPr/>
              </p:nvSpPr>
              <p:spPr bwMode="auto">
                <a:xfrm>
                  <a:off x="798" y="1972"/>
                  <a:ext cx="2" cy="26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79" name="Line 157"/>
                <p:cNvSpPr>
                  <a:spLocks noChangeShapeType="1"/>
                </p:cNvSpPr>
                <p:nvPr/>
              </p:nvSpPr>
              <p:spPr bwMode="auto">
                <a:xfrm>
                  <a:off x="802" y="1972"/>
                  <a:ext cx="0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80" name="Line 158"/>
                <p:cNvSpPr>
                  <a:spLocks noChangeShapeType="1"/>
                </p:cNvSpPr>
                <p:nvPr/>
              </p:nvSpPr>
              <p:spPr bwMode="auto">
                <a:xfrm>
                  <a:off x="802" y="1972"/>
                  <a:ext cx="2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81" name="Line 159"/>
                <p:cNvSpPr>
                  <a:spLocks noChangeShapeType="1"/>
                </p:cNvSpPr>
                <p:nvPr/>
              </p:nvSpPr>
              <p:spPr bwMode="auto">
                <a:xfrm>
                  <a:off x="802" y="1972"/>
                  <a:ext cx="0" cy="21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</p:grpSp>
          <p:sp>
            <p:nvSpPr>
              <p:cNvPr id="571" name="Line 160"/>
              <p:cNvSpPr>
                <a:spLocks noChangeShapeType="1"/>
              </p:cNvSpPr>
              <p:nvPr/>
            </p:nvSpPr>
            <p:spPr bwMode="auto">
              <a:xfrm flipV="1">
                <a:off x="791" y="1974"/>
                <a:ext cx="9" cy="5"/>
              </a:xfrm>
              <a:prstGeom prst="line">
                <a:avLst/>
              </a:prstGeom>
              <a:noFill/>
              <a:ln w="1588">
                <a:solidFill>
                  <a:srgbClr val="A0A0A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72" name="Line 161"/>
              <p:cNvSpPr>
                <a:spLocks noChangeShapeType="1"/>
              </p:cNvSpPr>
              <p:nvPr/>
            </p:nvSpPr>
            <p:spPr bwMode="auto">
              <a:xfrm flipV="1">
                <a:off x="791" y="1993"/>
                <a:ext cx="9" cy="7"/>
              </a:xfrm>
              <a:prstGeom prst="line">
                <a:avLst/>
              </a:prstGeom>
              <a:noFill/>
              <a:ln w="1588">
                <a:solidFill>
                  <a:srgbClr val="A0A0A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569" name="Freeform 162"/>
            <p:cNvSpPr>
              <a:spLocks/>
            </p:cNvSpPr>
            <p:nvPr/>
          </p:nvSpPr>
          <p:spPr bwMode="auto">
            <a:xfrm>
              <a:off x="752" y="2279"/>
              <a:ext cx="9" cy="14"/>
            </a:xfrm>
            <a:custGeom>
              <a:avLst/>
              <a:gdLst>
                <a:gd name="T0" fmla="*/ 5 w 10"/>
                <a:gd name="T1" fmla="*/ 3 h 13"/>
                <a:gd name="T2" fmla="*/ 0 w 10"/>
                <a:gd name="T3" fmla="*/ 0 h 13"/>
                <a:gd name="T4" fmla="*/ 0 w 10"/>
                <a:gd name="T5" fmla="*/ 112 h 13"/>
                <a:gd name="T6" fmla="*/ 5 w 10"/>
                <a:gd name="T7" fmla="*/ 151 h 13"/>
                <a:gd name="T8" fmla="*/ 5 w 10"/>
                <a:gd name="T9" fmla="*/ 3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13"/>
                <a:gd name="T17" fmla="*/ 10 w 10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13">
                  <a:moveTo>
                    <a:pt x="10" y="3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10" y="13"/>
                  </a:lnTo>
                  <a:lnTo>
                    <a:pt x="10" y="3"/>
                  </a:lnTo>
                  <a:close/>
                </a:path>
              </a:pathLst>
            </a:custGeom>
            <a:solidFill>
              <a:srgbClr val="E0000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</p:grpSp>
      <p:pic>
        <p:nvPicPr>
          <p:cNvPr id="318" name="Grafik 317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8184" y="3032015"/>
            <a:ext cx="124905" cy="483326"/>
          </a:xfrm>
          <a:prstGeom prst="rect">
            <a:avLst/>
          </a:prstGeom>
        </p:spPr>
      </p:pic>
      <p:sp>
        <p:nvSpPr>
          <p:cNvPr id="535" name="Rechteck 534"/>
          <p:cNvSpPr/>
          <p:nvPr/>
        </p:nvSpPr>
        <p:spPr>
          <a:xfrm>
            <a:off x="6248961" y="3188189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cxnSp>
        <p:nvCxnSpPr>
          <p:cNvPr id="718" name="Gerade Verbindung 537"/>
          <p:cNvCxnSpPr>
            <a:stCxn id="9252" idx="1"/>
          </p:cNvCxnSpPr>
          <p:nvPr/>
        </p:nvCxnSpPr>
        <p:spPr bwMode="auto">
          <a:xfrm flipH="1">
            <a:off x="4502287" y="2546643"/>
            <a:ext cx="432677" cy="615357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719" name="Gerade Verbindung 550"/>
          <p:cNvCxnSpPr>
            <a:stCxn id="316" idx="0"/>
          </p:cNvCxnSpPr>
          <p:nvPr/>
        </p:nvCxnSpPr>
        <p:spPr bwMode="auto">
          <a:xfrm flipH="1" flipV="1">
            <a:off x="3668493" y="4615821"/>
            <a:ext cx="555873" cy="1039669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720" name="Gerade Verbindung 549"/>
          <p:cNvCxnSpPr/>
          <p:nvPr/>
        </p:nvCxnSpPr>
        <p:spPr bwMode="auto">
          <a:xfrm flipV="1">
            <a:off x="2752034" y="4656854"/>
            <a:ext cx="865451" cy="998636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721" name="Gerade Verbindung 548"/>
          <p:cNvCxnSpPr/>
          <p:nvPr/>
        </p:nvCxnSpPr>
        <p:spPr bwMode="auto">
          <a:xfrm>
            <a:off x="1028583" y="4609360"/>
            <a:ext cx="1155350" cy="2239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722" name="Gerade Verbindung 548"/>
          <p:cNvCxnSpPr>
            <a:endCxn id="373" idx="1"/>
          </p:cNvCxnSpPr>
          <p:nvPr/>
        </p:nvCxnSpPr>
        <p:spPr bwMode="auto">
          <a:xfrm flipV="1">
            <a:off x="1449883" y="4653582"/>
            <a:ext cx="671598" cy="1008630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sp>
        <p:nvSpPr>
          <p:cNvPr id="565" name="Rectangle 162"/>
          <p:cNvSpPr>
            <a:spLocks noChangeArrowheads="1"/>
          </p:cNvSpPr>
          <p:nvPr/>
        </p:nvSpPr>
        <p:spPr bwMode="auto">
          <a:xfrm>
            <a:off x="1215536" y="4849223"/>
            <a:ext cx="798258" cy="368750"/>
          </a:xfrm>
          <a:prstGeom prst="rect">
            <a:avLst/>
          </a:prstGeom>
          <a:solidFill>
            <a:srgbClr val="FFD5AB"/>
          </a:solidFill>
          <a:ln>
            <a:noFill/>
          </a:ln>
          <a:extLst/>
        </p:spPr>
        <p:txBody>
          <a:bodyPr wrap="square" lIns="0" tIns="18000" rIns="0" bIns="1800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200" dirty="0" smtClean="0"/>
              <a:t>Use case</a:t>
            </a:r>
            <a:br>
              <a:rPr lang="en-US" altLang="de-DE" sz="1200" dirty="0" smtClean="0"/>
            </a:br>
            <a:r>
              <a:rPr lang="en-US" altLang="de-DE" sz="1200" dirty="0" smtClean="0"/>
              <a:t>a) </a:t>
            </a:r>
            <a:r>
              <a:rPr lang="en-US" altLang="de-DE" sz="1200" b="1" dirty="0" smtClean="0"/>
              <a:t>WTTH</a:t>
            </a:r>
            <a:endParaRPr lang="en-US" altLang="de-DE" sz="1200" b="1" dirty="0"/>
          </a:p>
        </p:txBody>
      </p:sp>
      <p:sp>
        <p:nvSpPr>
          <p:cNvPr id="566" name="Rectangle 162"/>
          <p:cNvSpPr>
            <a:spLocks noChangeArrowheads="1"/>
          </p:cNvSpPr>
          <p:nvPr/>
        </p:nvSpPr>
        <p:spPr bwMode="auto">
          <a:xfrm>
            <a:off x="3172213" y="5141183"/>
            <a:ext cx="798258" cy="368750"/>
          </a:xfrm>
          <a:prstGeom prst="rect">
            <a:avLst/>
          </a:prstGeom>
          <a:solidFill>
            <a:srgbClr val="FFD5AB"/>
          </a:solidFill>
          <a:ln>
            <a:noFill/>
          </a:ln>
          <a:extLst/>
        </p:spPr>
        <p:txBody>
          <a:bodyPr wrap="square" lIns="0" tIns="18000" rIns="0" bIns="18000">
            <a:spAutoFit/>
          </a:bodyPr>
          <a:lstStyle/>
          <a:p>
            <a:pPr algn="ctr" eaLnBrk="1" hangingPunct="1">
              <a:lnSpc>
                <a:spcPct val="90000"/>
              </a:lnSpc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200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Use case</a:t>
            </a:r>
            <a:br>
              <a:rPr lang="en-US" altLang="de-DE" sz="1200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</a:br>
            <a:r>
              <a:rPr lang="en-US" altLang="de-DE" sz="1200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) </a:t>
            </a:r>
            <a:r>
              <a:rPr lang="en-US" altLang="de-DE" sz="1200" b="1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WTTB</a:t>
            </a:r>
          </a:p>
        </p:txBody>
      </p:sp>
    </p:spTree>
    <p:extLst>
      <p:ext uri="{BB962C8B-B14F-4D97-AF65-F5344CB8AC3E}">
        <p14:creationId xmlns:p14="http://schemas.microsoft.com/office/powerpoint/2010/main" val="41081163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640FCA93-0460-4BB8-89C2-809FD46B8F3F}" type="slidenum">
              <a:rPr lang="en-GB"/>
              <a:pPr/>
              <a:t>6</a:t>
            </a:fld>
            <a:endParaRPr lang="en-GB"/>
          </a:p>
        </p:txBody>
      </p:sp>
      <p:sp>
        <p:nvSpPr>
          <p:cNvPr id="7169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5800"/>
            <a:ext cx="7772400" cy="1066800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dirty="0" err="1">
                <a:solidFill>
                  <a:schemeClr val="dk2"/>
                </a:solidFill>
                <a:ea typeface="Times New Roman"/>
                <a:cs typeface="Times New Roman"/>
                <a:sym typeface="Times New Roman"/>
              </a:rPr>
              <a:t>mmWave</a:t>
            </a:r>
            <a:r>
              <a:rPr lang="en-US" dirty="0">
                <a:solidFill>
                  <a:schemeClr val="dk2"/>
                </a:solidFill>
                <a:ea typeface="Times New Roman"/>
                <a:cs typeface="Times New Roman"/>
                <a:sym typeface="Times New Roman"/>
              </a:rPr>
              <a:t> </a:t>
            </a:r>
            <a:r>
              <a:rPr lang="en-GB" dirty="0" smtClean="0"/>
              <a:t>Distribution Network </a:t>
            </a:r>
            <a:br>
              <a:rPr lang="en-GB" dirty="0" smtClean="0"/>
            </a:br>
            <a:r>
              <a:rPr lang="en-GB" dirty="0" smtClean="0"/>
              <a:t>Use Case Matrix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9" name="Abgerundetes Rechteck 4"/>
          <p:cNvSpPr>
            <a:spLocks noChangeArrowheads="1"/>
          </p:cNvSpPr>
          <p:nvPr/>
        </p:nvSpPr>
        <p:spPr bwMode="auto">
          <a:xfrm>
            <a:off x="697376" y="3973390"/>
            <a:ext cx="719643" cy="403866"/>
          </a:xfrm>
          <a:prstGeom prst="roundRect">
            <a:avLst>
              <a:gd name="adj" fmla="val 16667"/>
            </a:avLst>
          </a:prstGeom>
          <a:solidFill>
            <a:srgbClr val="FFFFFF">
              <a:lumMod val="85000"/>
            </a:srgbClr>
          </a:solidFill>
          <a:ln w="12700" algn="ctr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85000"/>
              </a:lnSpc>
            </a:pPr>
            <a:r>
              <a:rPr lang="en-GB" sz="11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et </a:t>
            </a:r>
            <a:br>
              <a:rPr lang="en-GB" sz="11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1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e</a:t>
            </a:r>
            <a:endParaRPr lang="en-GB" sz="11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bgerundetes Rechteck 4"/>
          <p:cNvSpPr>
            <a:spLocks noChangeArrowheads="1"/>
          </p:cNvSpPr>
          <p:nvPr/>
        </p:nvSpPr>
        <p:spPr bwMode="auto">
          <a:xfrm>
            <a:off x="1615801" y="2391602"/>
            <a:ext cx="827156" cy="479857"/>
          </a:xfrm>
          <a:prstGeom prst="roundRect">
            <a:avLst>
              <a:gd name="adj" fmla="val 16667"/>
            </a:avLst>
          </a:prstGeom>
          <a:solidFill>
            <a:srgbClr val="375999"/>
          </a:solidFill>
          <a:ln w="12700" algn="ctr">
            <a:solidFill>
              <a:schemeClr val="tx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90000"/>
              </a:lnSpc>
            </a:pPr>
            <a:r>
              <a:rPr lang="en-GB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) WTTH </a:t>
            </a:r>
            <a:endParaRPr lang="en-GB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bgerundetes Rechteck 4"/>
          <p:cNvSpPr>
            <a:spLocks noChangeArrowheads="1"/>
          </p:cNvSpPr>
          <p:nvPr/>
        </p:nvSpPr>
        <p:spPr bwMode="auto">
          <a:xfrm>
            <a:off x="2664420" y="2391602"/>
            <a:ext cx="842700" cy="479857"/>
          </a:xfrm>
          <a:prstGeom prst="roundRect">
            <a:avLst>
              <a:gd name="adj" fmla="val 16667"/>
            </a:avLst>
          </a:prstGeom>
          <a:solidFill>
            <a:srgbClr val="375999"/>
          </a:solidFill>
          <a:ln w="12700" algn="ctr">
            <a:solidFill>
              <a:schemeClr val="tx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90000"/>
              </a:lnSpc>
            </a:pPr>
            <a:r>
              <a:rPr lang="en-GB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) WTTB</a:t>
            </a:r>
            <a:endParaRPr lang="en-GB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Gerade Verbindung 11"/>
          <p:cNvCxnSpPr/>
          <p:nvPr/>
        </p:nvCxnSpPr>
        <p:spPr>
          <a:xfrm>
            <a:off x="399162" y="3904325"/>
            <a:ext cx="4207186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>
          <a:xfrm>
            <a:off x="493094" y="4442758"/>
            <a:ext cx="4113253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>
          <a:xfrm>
            <a:off x="403661" y="2914790"/>
            <a:ext cx="4202687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08582" y="2097459"/>
            <a:ext cx="0" cy="33435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>
          <a:xfrm>
            <a:off x="2555776" y="2366929"/>
            <a:ext cx="0" cy="31102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>
          <a:xfrm>
            <a:off x="3613036" y="2366929"/>
            <a:ext cx="0" cy="31102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Abgerundetes Rechteck 4"/>
          <p:cNvSpPr>
            <a:spLocks noChangeArrowheads="1"/>
          </p:cNvSpPr>
          <p:nvPr/>
        </p:nvSpPr>
        <p:spPr bwMode="auto">
          <a:xfrm>
            <a:off x="694600" y="5044477"/>
            <a:ext cx="724687" cy="396553"/>
          </a:xfrm>
          <a:prstGeom prst="roundRect">
            <a:avLst>
              <a:gd name="adj" fmla="val 16667"/>
            </a:avLst>
          </a:prstGeom>
          <a:solidFill>
            <a:srgbClr val="FFFFFF">
              <a:lumMod val="85000"/>
            </a:srgbClr>
          </a:solidFill>
          <a:ln w="12700" algn="ctr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85000"/>
              </a:lnSpc>
            </a:pPr>
            <a:r>
              <a:rPr lang="en-GB" sz="11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oftop</a:t>
            </a:r>
            <a:endParaRPr lang="en-GB" sz="11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Abgerundetes Rechteck 4"/>
          <p:cNvSpPr>
            <a:spLocks noChangeArrowheads="1"/>
          </p:cNvSpPr>
          <p:nvPr/>
        </p:nvSpPr>
        <p:spPr bwMode="auto">
          <a:xfrm>
            <a:off x="694600" y="4510102"/>
            <a:ext cx="724687" cy="406516"/>
          </a:xfrm>
          <a:prstGeom prst="roundRect">
            <a:avLst>
              <a:gd name="adj" fmla="val 16667"/>
            </a:avLst>
          </a:prstGeom>
          <a:solidFill>
            <a:srgbClr val="FFFFFF">
              <a:lumMod val="85000"/>
            </a:srgbClr>
          </a:solidFill>
          <a:ln w="12700" algn="ctr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85000"/>
              </a:lnSpc>
            </a:pPr>
            <a:r>
              <a:rPr lang="en-GB" sz="11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use </a:t>
            </a:r>
            <a:br>
              <a:rPr lang="en-GB" sz="11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1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ll</a:t>
            </a:r>
            <a:endParaRPr lang="en-GB" sz="11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Gerade Verbindung 19"/>
          <p:cNvCxnSpPr/>
          <p:nvPr/>
        </p:nvCxnSpPr>
        <p:spPr>
          <a:xfrm flipV="1">
            <a:off x="493095" y="4957400"/>
            <a:ext cx="4113252" cy="20379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/>
          <p:cNvSpPr txBox="1">
            <a:spLocks/>
          </p:cNvSpPr>
          <p:nvPr/>
        </p:nvSpPr>
        <p:spPr bwMode="gray">
          <a:xfrm>
            <a:off x="1756068" y="3922458"/>
            <a:ext cx="578940" cy="483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256456" indent="-256456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191" indent="340755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8595" indent="-165049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32450" indent="-161478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6973" indent="-173347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067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2608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64547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649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 defTabSz="1218197" fontAlgn="auto">
              <a:spcBef>
                <a:spcPts val="635"/>
              </a:spcBef>
              <a:spcAft>
                <a:spcPts val="0"/>
              </a:spcAft>
              <a:buClr>
                <a:srgbClr val="E20074"/>
              </a:buClr>
              <a:buSzPct val="80000"/>
              <a:buNone/>
            </a:pPr>
            <a:r>
              <a:rPr lang="en-GB" sz="2500" dirty="0">
                <a:solidFill>
                  <a:srgbClr val="000000"/>
                </a:solidFill>
                <a:latin typeface="Tele-GroteskFet" pitchFamily="2" charset="0"/>
              </a:rPr>
              <a:t>X</a:t>
            </a:r>
          </a:p>
        </p:txBody>
      </p:sp>
      <p:sp>
        <p:nvSpPr>
          <p:cNvPr id="22" name="Content Placeholder 2"/>
          <p:cNvSpPr txBox="1">
            <a:spLocks/>
          </p:cNvSpPr>
          <p:nvPr/>
        </p:nvSpPr>
        <p:spPr bwMode="gray">
          <a:xfrm>
            <a:off x="2814428" y="3922458"/>
            <a:ext cx="578940" cy="483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256456" indent="-256456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191" indent="340755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8595" indent="-165049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32450" indent="-161478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6973" indent="-173347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067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2608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64547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649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 defTabSz="1218197" fontAlgn="auto">
              <a:spcBef>
                <a:spcPts val="635"/>
              </a:spcBef>
              <a:spcAft>
                <a:spcPts val="0"/>
              </a:spcAft>
              <a:buClr>
                <a:srgbClr val="E20074"/>
              </a:buClr>
              <a:buSzPct val="80000"/>
              <a:buNone/>
            </a:pPr>
            <a:r>
              <a:rPr lang="en-GB" sz="2500" dirty="0">
                <a:solidFill>
                  <a:srgbClr val="000000"/>
                </a:solidFill>
                <a:latin typeface="Tele-GroteskFet" pitchFamily="2" charset="0"/>
              </a:rPr>
              <a:t>X</a:t>
            </a:r>
          </a:p>
        </p:txBody>
      </p:sp>
      <p:sp>
        <p:nvSpPr>
          <p:cNvPr id="23" name="Content Placeholder 2"/>
          <p:cNvSpPr txBox="1">
            <a:spLocks/>
          </p:cNvSpPr>
          <p:nvPr/>
        </p:nvSpPr>
        <p:spPr bwMode="gray">
          <a:xfrm>
            <a:off x="2814428" y="4473723"/>
            <a:ext cx="578940" cy="483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256456" indent="-256456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191" indent="340755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8595" indent="-165049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32450" indent="-161478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6973" indent="-173347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067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2608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64547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649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 defTabSz="1218197" fontAlgn="auto">
              <a:spcBef>
                <a:spcPts val="635"/>
              </a:spcBef>
              <a:spcAft>
                <a:spcPts val="0"/>
              </a:spcAft>
              <a:buClr>
                <a:srgbClr val="E20074"/>
              </a:buClr>
              <a:buSzPct val="80000"/>
              <a:buNone/>
            </a:pPr>
            <a:r>
              <a:rPr lang="en-GB" sz="2500" dirty="0">
                <a:solidFill>
                  <a:srgbClr val="000000"/>
                </a:solidFill>
                <a:latin typeface="Tele-GroteskFet" pitchFamily="2" charset="0"/>
              </a:rPr>
              <a:t>X</a:t>
            </a:r>
          </a:p>
        </p:txBody>
      </p:sp>
      <p:sp>
        <p:nvSpPr>
          <p:cNvPr id="24" name="Content Placeholder 2"/>
          <p:cNvSpPr txBox="1">
            <a:spLocks/>
          </p:cNvSpPr>
          <p:nvPr/>
        </p:nvSpPr>
        <p:spPr bwMode="gray">
          <a:xfrm>
            <a:off x="2814428" y="4993546"/>
            <a:ext cx="578940" cy="483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256456" indent="-256456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191" indent="340755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8595" indent="-165049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32450" indent="-161478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6973" indent="-173347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067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2608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64547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649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 defTabSz="1218197" fontAlgn="auto">
              <a:spcBef>
                <a:spcPts val="635"/>
              </a:spcBef>
              <a:spcAft>
                <a:spcPts val="0"/>
              </a:spcAft>
              <a:buClr>
                <a:srgbClr val="E20074"/>
              </a:buClr>
              <a:buSzPct val="80000"/>
              <a:buNone/>
            </a:pPr>
            <a:r>
              <a:rPr lang="en-GB" sz="2500" dirty="0">
                <a:solidFill>
                  <a:srgbClr val="000000"/>
                </a:solidFill>
                <a:latin typeface="Tele-GroteskFet" pitchFamily="2" charset="0"/>
              </a:rPr>
              <a:t>X</a:t>
            </a:r>
          </a:p>
        </p:txBody>
      </p:sp>
      <p:sp>
        <p:nvSpPr>
          <p:cNvPr id="25" name="Rechteck 24"/>
          <p:cNvSpPr/>
          <p:nvPr/>
        </p:nvSpPr>
        <p:spPr>
          <a:xfrm>
            <a:off x="2665884" y="3492115"/>
            <a:ext cx="853422" cy="3323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reless AP + Repeater</a:t>
            </a:r>
            <a:r>
              <a:rPr lang="en-GB" sz="1200" baseline="30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</a:t>
            </a:r>
            <a:endParaRPr lang="en-GB" sz="600" baseline="30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6" name="Gerade Verbindung 25"/>
          <p:cNvCxnSpPr/>
          <p:nvPr/>
        </p:nvCxnSpPr>
        <p:spPr>
          <a:xfrm>
            <a:off x="406094" y="3409552"/>
            <a:ext cx="420025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Abgerundetes Rechteck 4"/>
          <p:cNvSpPr>
            <a:spLocks noChangeArrowheads="1"/>
          </p:cNvSpPr>
          <p:nvPr/>
        </p:nvSpPr>
        <p:spPr bwMode="auto">
          <a:xfrm>
            <a:off x="395536" y="2972501"/>
            <a:ext cx="1021481" cy="853150"/>
          </a:xfrm>
          <a:prstGeom prst="roundRect">
            <a:avLst>
              <a:gd name="adj" fmla="val 7384"/>
            </a:avLst>
          </a:prstGeom>
          <a:solidFill>
            <a:srgbClr val="FFFFFF">
              <a:lumMod val="85000"/>
            </a:srgbClr>
          </a:solidFill>
          <a:ln w="12700" algn="ctr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85000"/>
              </a:lnSpc>
            </a:pPr>
            <a:r>
              <a:rPr lang="en-GB" sz="12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house</a:t>
            </a:r>
            <a:endParaRPr lang="en-GB" sz="12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1643741" y="3017446"/>
            <a:ext cx="799216" cy="3139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GB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ndow</a:t>
            </a:r>
            <a:br>
              <a:rPr lang="en-GB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enna</a:t>
            </a:r>
            <a:r>
              <a:rPr lang="en-GB" sz="12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</a:t>
            </a:r>
          </a:p>
        </p:txBody>
      </p:sp>
      <p:sp>
        <p:nvSpPr>
          <p:cNvPr id="29" name="Abgerundetes Rechteck 4"/>
          <p:cNvSpPr>
            <a:spLocks noChangeArrowheads="1"/>
          </p:cNvSpPr>
          <p:nvPr/>
        </p:nvSpPr>
        <p:spPr bwMode="auto">
          <a:xfrm rot="16200000">
            <a:off x="-179690" y="4555895"/>
            <a:ext cx="1467641" cy="302630"/>
          </a:xfrm>
          <a:prstGeom prst="roundRect">
            <a:avLst>
              <a:gd name="adj" fmla="val 16667"/>
            </a:avLst>
          </a:prstGeom>
          <a:solidFill>
            <a:srgbClr val="FFFFFF">
              <a:lumMod val="85000"/>
            </a:srgbClr>
          </a:solidFill>
          <a:ln w="12700" algn="ctr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85000"/>
              </a:lnSpc>
            </a:pPr>
            <a:r>
              <a:rPr lang="en-GB" sz="1000" b="1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loyment Scenario</a:t>
            </a:r>
            <a:endParaRPr lang="en-GB" sz="1000" b="1" baseline="300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929431" y="5831688"/>
            <a:ext cx="2589875" cy="2215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t">
            <a:spAutoFit/>
          </a:bodyPr>
          <a:lstStyle/>
          <a:p>
            <a:pPr algn="l">
              <a:lnSpc>
                <a:spcPct val="90000"/>
              </a:lnSpc>
            </a:pPr>
            <a:r>
              <a:rPr lang="en-GB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 No additional building outside-wall antenna for WTTH</a:t>
            </a:r>
          </a:p>
          <a:p>
            <a:pPr algn="l">
              <a:lnSpc>
                <a:spcPct val="90000"/>
              </a:lnSpc>
            </a:pPr>
            <a:r>
              <a:rPr lang="en-GB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 E.g. wireless AP in the floor plus repeater at home </a:t>
            </a:r>
            <a:r>
              <a:rPr lang="en-GB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T</a:t>
            </a:r>
            <a:endParaRPr lang="en-GB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Abgerundetes Rechteck 4"/>
          <p:cNvSpPr>
            <a:spLocks noChangeArrowheads="1"/>
          </p:cNvSpPr>
          <p:nvPr/>
        </p:nvSpPr>
        <p:spPr bwMode="auto">
          <a:xfrm>
            <a:off x="3715524" y="2393531"/>
            <a:ext cx="890823" cy="483648"/>
          </a:xfrm>
          <a:prstGeom prst="roundRect">
            <a:avLst>
              <a:gd name="adj" fmla="val 16667"/>
            </a:avLst>
          </a:prstGeom>
          <a:solidFill>
            <a:srgbClr val="375999"/>
          </a:solidFill>
          <a:ln w="12700" algn="ctr">
            <a:solidFill>
              <a:schemeClr val="tx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90000"/>
              </a:lnSpc>
            </a:pPr>
            <a:r>
              <a:rPr lang="en-GB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c) Wi-Fi AP</a:t>
            </a:r>
            <a:r>
              <a:rPr lang="en-GB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 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Small </a:t>
            </a:r>
            <a:r>
              <a:rPr lang="en-GB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Cell</a:t>
            </a:r>
            <a:endParaRPr lang="en-GB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Abgerundetes Rechteck 4"/>
          <p:cNvSpPr>
            <a:spLocks noChangeArrowheads="1"/>
          </p:cNvSpPr>
          <p:nvPr/>
        </p:nvSpPr>
        <p:spPr bwMode="auto">
          <a:xfrm>
            <a:off x="1610848" y="2097459"/>
            <a:ext cx="2995500" cy="247467"/>
          </a:xfrm>
          <a:prstGeom prst="roundRect">
            <a:avLst>
              <a:gd name="adj" fmla="val 16667"/>
            </a:avLst>
          </a:prstGeom>
          <a:solidFill>
            <a:srgbClr val="375999"/>
          </a:solidFill>
          <a:ln w="12700" algn="ctr">
            <a:solidFill>
              <a:schemeClr val="tx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90000"/>
              </a:lnSpc>
            </a:pPr>
            <a:r>
              <a:rPr lang="en-GB" sz="14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mWave</a:t>
            </a:r>
            <a:r>
              <a:rPr lang="en-GB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istribution Network</a:t>
            </a:r>
            <a:endParaRPr lang="en-GB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Content Placeholder 2"/>
          <p:cNvSpPr txBox="1">
            <a:spLocks/>
          </p:cNvSpPr>
          <p:nvPr/>
        </p:nvSpPr>
        <p:spPr bwMode="gray">
          <a:xfrm>
            <a:off x="3851920" y="3922458"/>
            <a:ext cx="578940" cy="483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256456" indent="-256456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191" indent="340755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8595" indent="-165049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32450" indent="-161478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6973" indent="-173347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067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2608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64547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649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 defTabSz="1218197" fontAlgn="auto">
              <a:spcBef>
                <a:spcPts val="635"/>
              </a:spcBef>
              <a:spcAft>
                <a:spcPts val="0"/>
              </a:spcAft>
              <a:buClr>
                <a:srgbClr val="E20074"/>
              </a:buClr>
              <a:buSzPct val="80000"/>
              <a:buNone/>
            </a:pPr>
            <a:r>
              <a:rPr lang="en-GB" sz="2500" dirty="0">
                <a:solidFill>
                  <a:srgbClr val="000000"/>
                </a:solidFill>
                <a:latin typeface="Tele-GroteskFet" pitchFamily="2" charset="0"/>
              </a:rPr>
              <a:t>X</a:t>
            </a:r>
          </a:p>
        </p:txBody>
      </p:sp>
      <p:sp>
        <p:nvSpPr>
          <p:cNvPr id="34" name="Content Placeholder 2"/>
          <p:cNvSpPr txBox="1">
            <a:spLocks/>
          </p:cNvSpPr>
          <p:nvPr/>
        </p:nvSpPr>
        <p:spPr bwMode="gray">
          <a:xfrm>
            <a:off x="3851920" y="4473723"/>
            <a:ext cx="578940" cy="483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256456" indent="-256456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191" indent="340755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8595" indent="-165049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32450" indent="-161478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6973" indent="-173347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067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2608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64547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649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 defTabSz="1218197" fontAlgn="auto">
              <a:spcBef>
                <a:spcPts val="635"/>
              </a:spcBef>
              <a:spcAft>
                <a:spcPts val="0"/>
              </a:spcAft>
              <a:buClr>
                <a:srgbClr val="E20074"/>
              </a:buClr>
              <a:buSzPct val="80000"/>
              <a:buNone/>
            </a:pPr>
            <a:r>
              <a:rPr lang="en-GB" sz="2500" dirty="0">
                <a:solidFill>
                  <a:srgbClr val="000000"/>
                </a:solidFill>
                <a:latin typeface="Tele-GroteskFet" pitchFamily="2" charset="0"/>
              </a:rPr>
              <a:t>X</a:t>
            </a:r>
          </a:p>
        </p:txBody>
      </p:sp>
      <p:sp>
        <p:nvSpPr>
          <p:cNvPr id="39" name="Rectangle 2"/>
          <p:cNvSpPr txBox="1">
            <a:spLocks noChangeArrowheads="1"/>
          </p:cNvSpPr>
          <p:nvPr/>
        </p:nvSpPr>
        <p:spPr bwMode="auto">
          <a:xfrm>
            <a:off x="5004048" y="1916832"/>
            <a:ext cx="3744416" cy="420846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72000" tIns="46080" rIns="72000" bIns="46080" numCol="1" anchor="t" anchorCtr="0" compatLnSpc="1">
            <a:prstTxWarp prst="textNoShape">
              <a:avLst/>
            </a:prstTxWarp>
          </a:bodyPr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marL="0" indent="0">
              <a:spcBef>
                <a:spcPts val="12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) Wireless To The Home (WTTH)</a:t>
            </a:r>
          </a:p>
          <a:p>
            <a:pPr marL="449263" lvl="1" indent="-168275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ixed-wireless access (FWA) scenario for residential access</a:t>
            </a:r>
          </a:p>
          <a:p>
            <a:pPr marL="449263" lvl="1" indent="-168275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h flat is equipped with a receive / transmit window antenna (sector)</a:t>
            </a:r>
            <a:endParaRPr lang="en-GB" sz="1400" b="0" kern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12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Wireless </a:t>
            </a:r>
            <a:r>
              <a:rPr lang="en-GB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The </a:t>
            </a: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ing </a:t>
            </a:r>
            <a:r>
              <a:rPr lang="en-GB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TTB)</a:t>
            </a:r>
            <a:endParaRPr lang="en-GB" sz="16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49263" lvl="1" indent="-168275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WA </a:t>
            </a:r>
            <a:r>
              <a:rPr lang="en-GB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enario </a:t>
            </a: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residential </a:t>
            </a:r>
            <a:r>
              <a:rPr lang="en-GB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</a:t>
            </a:r>
          </a:p>
          <a:p>
            <a:pPr marL="449263" lvl="1" indent="-168275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h </a:t>
            </a: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ing is </a:t>
            </a:r>
            <a:r>
              <a:rPr lang="en-GB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quipped with a </a:t>
            </a: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eive / transmit outdoor-wall antenna (sector)</a:t>
            </a:r>
          </a:p>
          <a:p>
            <a:pPr marL="449263" lvl="1" indent="-168275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in-building distribution is achieved by an in-building wireless or fixed network</a:t>
            </a:r>
            <a:endParaRPr lang="en-GB" sz="14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12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en-GB" sz="1400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Fi</a:t>
            </a: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P / Small Cell Backhaul</a:t>
            </a:r>
          </a:p>
          <a:p>
            <a:pPr marL="449263" lvl="1" indent="-168275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nomadic and mobile usage scenario for Wi-Fi or 5G services</a:t>
            </a:r>
          </a:p>
          <a:p>
            <a:pPr marL="449263" lvl="1" indent="-168275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h user equipment / device represents an end node</a:t>
            </a:r>
          </a:p>
        </p:txBody>
      </p:sp>
    </p:spTree>
    <p:extLst>
      <p:ext uri="{BB962C8B-B14F-4D97-AF65-F5344CB8AC3E}">
        <p14:creationId xmlns:p14="http://schemas.microsoft.com/office/powerpoint/2010/main" val="59618818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July 2017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>
                <a:solidFill>
                  <a:schemeClr val="tx1"/>
                </a:solidFill>
              </a:rPr>
              <a:t>Slide </a:t>
            </a:r>
            <a:fld id="{DC83D890-10BB-4905-98E9-EC5FFEC1B9BB}" type="slidenum">
              <a:rPr lang="en-GB">
                <a:solidFill>
                  <a:schemeClr val="tx1"/>
                </a:solidFill>
              </a:rPr>
              <a:pPr/>
              <a:t>7</a:t>
            </a:fld>
            <a:endParaRPr lang="en-GB">
              <a:solidFill>
                <a:schemeClr val="tx1"/>
              </a:solidFill>
            </a:endParaRPr>
          </a:p>
        </p:txBody>
      </p:sp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4213"/>
            <a:ext cx="7772400" cy="1160462"/>
          </a:xfrm>
          <a:ln/>
        </p:spPr>
        <p:txBody>
          <a:bodyPr lIns="90000" tIns="46800" rIns="90000" bIns="46800"/>
          <a:lstStyle/>
          <a:p>
            <a:r>
              <a:rPr lang="en-GB" dirty="0" smtClean="0">
                <a:solidFill>
                  <a:schemeClr val="tx1"/>
                </a:solidFill>
              </a:rPr>
              <a:t>Distance Distribution – Operator Example for </a:t>
            </a:r>
            <a:r>
              <a:rPr lang="en-GB" dirty="0" err="1" smtClean="0">
                <a:solidFill>
                  <a:schemeClr val="tx1"/>
                </a:solidFill>
              </a:rPr>
              <a:t>mmWave</a:t>
            </a:r>
            <a:r>
              <a:rPr lang="en-GB" dirty="0" smtClean="0">
                <a:solidFill>
                  <a:schemeClr val="tx1"/>
                </a:solidFill>
              </a:rPr>
              <a:t> Distribution Networks 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772816"/>
            <a:ext cx="4459288" cy="4452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hteck 4"/>
          <p:cNvSpPr/>
          <p:nvPr/>
        </p:nvSpPr>
        <p:spPr>
          <a:xfrm>
            <a:off x="719576" y="1902432"/>
            <a:ext cx="161614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nse urban area</a:t>
            </a:r>
            <a:endParaRPr lang="de-DE" sz="1400" dirty="0"/>
          </a:p>
        </p:txBody>
      </p:sp>
      <p:sp>
        <p:nvSpPr>
          <p:cNvPr id="12" name="Rectangle 2"/>
          <p:cNvSpPr/>
          <p:nvPr/>
        </p:nvSpPr>
        <p:spPr>
          <a:xfrm>
            <a:off x="5142903" y="1916832"/>
            <a:ext cx="3533600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indent="0">
              <a:spcAft>
                <a:spcPts val="300"/>
              </a:spcAft>
            </a:pPr>
            <a:r>
              <a:rPr lang="en-US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pose and methodology</a:t>
            </a:r>
            <a:endParaRPr lang="en-US" sz="16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lvl="1" indent="-177800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 broadband coverage for dense urban, urban, rural service areas in a timely and cost efficient way</a:t>
            </a:r>
          </a:p>
          <a:p>
            <a:pPr marL="177800" lvl="1" indent="-177800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mplary assessment: Dense urban area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683568" y="6237312"/>
            <a:ext cx="7848872" cy="2215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t">
            <a:spAutoFit/>
          </a:bodyPr>
          <a:lstStyle/>
          <a:p>
            <a:pPr>
              <a:lnSpc>
                <a:spcPct val="90000"/>
              </a:lnSpc>
            </a:pPr>
            <a:r>
              <a:rPr lang="en-GB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is: </a:t>
            </a:r>
            <a:r>
              <a:rPr lang="it-IT" sz="800" cap="small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hrens</a:t>
            </a:r>
            <a:r>
              <a:rPr lang="it-IT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.; </a:t>
            </a:r>
            <a:r>
              <a:rPr lang="it-IT" sz="8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ge</a:t>
            </a:r>
            <a:r>
              <a:rPr lang="it-IT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.; </a:t>
            </a:r>
            <a:r>
              <a:rPr lang="it-IT" sz="8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adisch</a:t>
            </a:r>
            <a:r>
              <a:rPr lang="it-IT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.: </a:t>
            </a:r>
            <a:r>
              <a:rPr lang="it-IT" sz="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llenges</a:t>
            </a:r>
            <a:r>
              <a:rPr lang="it-IT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Optical Wireless: </a:t>
            </a:r>
            <a:r>
              <a:rPr lang="it-IT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</a:t>
            </a:r>
            <a:r>
              <a:rPr lang="it-IT" sz="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or’s</a:t>
            </a:r>
            <a:r>
              <a:rPr lang="it-IT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pective</a:t>
            </a:r>
            <a:r>
              <a:rPr lang="it-IT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lang="en-GB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GB" sz="8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cal </a:t>
            </a:r>
            <a:r>
              <a:rPr lang="en-GB" sz="800" i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ber</a:t>
            </a:r>
            <a:r>
              <a:rPr lang="en-GB" sz="8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mmunications Conference (OFC)</a:t>
            </a:r>
            <a:r>
              <a:rPr lang="en-GB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shop: Optical Wireless – Can it Become a Gigabit Wireless Alternative? — Capabilities, Opportunities, Challenges and Threats, Los Angeles </a:t>
            </a:r>
            <a:r>
              <a:rPr lang="en-US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A, USA</a:t>
            </a:r>
            <a:r>
              <a: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</a:t>
            </a:r>
            <a:r>
              <a:rPr lang="en-US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h 19–23, </a:t>
            </a:r>
            <a:r>
              <a:rPr lang="it-IT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  <a:endParaRPr lang="en-GB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2"/>
          <p:cNvSpPr/>
          <p:nvPr/>
        </p:nvSpPr>
        <p:spPr>
          <a:xfrm>
            <a:off x="5148063" y="3861048"/>
            <a:ext cx="3611623" cy="23314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indent="0">
              <a:spcAft>
                <a:spcPts val="300"/>
              </a:spcAft>
            </a:pPr>
            <a:r>
              <a:rPr lang="en-US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: Distance classes</a:t>
            </a:r>
          </a:p>
          <a:p>
            <a:pPr marL="177800" lvl="1" indent="-177800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et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rniture to </a:t>
            </a: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ing</a:t>
            </a:r>
          </a:p>
          <a:p>
            <a:pPr marL="568325" lvl="1" indent="-168275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ard distance       &lt; 15 m</a:t>
            </a:r>
          </a:p>
          <a:p>
            <a:pPr marL="568325" lvl="1" indent="-168275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ded distance       &lt; 100 m 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lvl="1" indent="-177800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et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rniture </a:t>
            </a: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et Furniture </a:t>
            </a:r>
            <a:endParaRPr lang="en-US" sz="16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7850" lvl="2" indent="-177800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ard distance       &lt; 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 m</a:t>
            </a:r>
          </a:p>
          <a:p>
            <a:pPr marL="577850" lvl="2" indent="-177800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ded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ance 1 </a:t>
            </a: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&lt;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0 m</a:t>
            </a:r>
          </a:p>
          <a:p>
            <a:pPr marL="577850" lvl="2" indent="-177800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ded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ance 2 </a:t>
            </a: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&lt; 300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</a:p>
        </p:txBody>
      </p:sp>
    </p:spTree>
    <p:extLst>
      <p:ext uri="{BB962C8B-B14F-4D97-AF65-F5344CB8AC3E}">
        <p14:creationId xmlns:p14="http://schemas.microsoft.com/office/powerpoint/2010/main" val="259838939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6" name="Objekt 15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50057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7" name="Freeform 11"/>
          <p:cNvSpPr>
            <a:spLocks/>
          </p:cNvSpPr>
          <p:nvPr/>
        </p:nvSpPr>
        <p:spPr bwMode="auto">
          <a:xfrm>
            <a:off x="3152254" y="2111110"/>
            <a:ext cx="2531678" cy="3502945"/>
          </a:xfrm>
          <a:custGeom>
            <a:avLst/>
            <a:gdLst>
              <a:gd name="T0" fmla="*/ 596 w 6580"/>
              <a:gd name="T1" fmla="*/ 1330 h 4000"/>
              <a:gd name="T2" fmla="*/ 0 w 6580"/>
              <a:gd name="T3" fmla="*/ 1877 h 4000"/>
              <a:gd name="T4" fmla="*/ 328 w 6580"/>
              <a:gd name="T5" fmla="*/ 2353 h 4000"/>
              <a:gd name="T6" fmla="*/ 325 w 6580"/>
              <a:gd name="T7" fmla="*/ 2346 h 4000"/>
              <a:gd name="T8" fmla="*/ 146 w 6580"/>
              <a:gd name="T9" fmla="*/ 2721 h 4000"/>
              <a:gd name="T10" fmla="*/ 811 w 6580"/>
              <a:gd name="T11" fmla="*/ 3269 h 4000"/>
              <a:gd name="T12" fmla="*/ 888 w 6580"/>
              <a:gd name="T13" fmla="*/ 3265 h 4000"/>
              <a:gd name="T14" fmla="*/ 884 w 6580"/>
              <a:gd name="T15" fmla="*/ 3269 h 4000"/>
              <a:gd name="T16" fmla="*/ 1905 w 6580"/>
              <a:gd name="T17" fmla="*/ 3759 h 4000"/>
              <a:gd name="T18" fmla="*/ 2510 w 6580"/>
              <a:gd name="T19" fmla="*/ 3620 h 4000"/>
              <a:gd name="T20" fmla="*/ 2508 w 6580"/>
              <a:gd name="T21" fmla="*/ 3621 h 4000"/>
              <a:gd name="T22" fmla="*/ 3363 w 6580"/>
              <a:gd name="T23" fmla="*/ 4000 h 4000"/>
              <a:gd name="T24" fmla="*/ 4347 w 6580"/>
              <a:gd name="T25" fmla="*/ 3393 h 4000"/>
              <a:gd name="T26" fmla="*/ 4349 w 6580"/>
              <a:gd name="T27" fmla="*/ 3398 h 4000"/>
              <a:gd name="T28" fmla="*/ 4815 w 6580"/>
              <a:gd name="T29" fmla="*/ 3508 h 4000"/>
              <a:gd name="T30" fmla="*/ 5696 w 6580"/>
              <a:gd name="T31" fmla="*/ 2786 h 4000"/>
              <a:gd name="T32" fmla="*/ 5695 w 6580"/>
              <a:gd name="T33" fmla="*/ 2785 h 4000"/>
              <a:gd name="T34" fmla="*/ 6580 w 6580"/>
              <a:gd name="T35" fmla="*/ 1940 h 4000"/>
              <a:gd name="T36" fmla="*/ 6367 w 6580"/>
              <a:gd name="T37" fmla="*/ 1419 h 4000"/>
              <a:gd name="T38" fmla="*/ 6364 w 6580"/>
              <a:gd name="T39" fmla="*/ 1419 h 4000"/>
              <a:gd name="T40" fmla="*/ 6431 w 6580"/>
              <a:gd name="T41" fmla="*/ 1154 h 4000"/>
              <a:gd name="T42" fmla="*/ 5832 w 6580"/>
              <a:gd name="T43" fmla="*/ 504 h 4000"/>
              <a:gd name="T44" fmla="*/ 5835 w 6580"/>
              <a:gd name="T45" fmla="*/ 503 h 4000"/>
              <a:gd name="T46" fmla="*/ 5107 w 6580"/>
              <a:gd name="T47" fmla="*/ 0 h 4000"/>
              <a:gd name="T48" fmla="*/ 4541 w 6580"/>
              <a:gd name="T49" fmla="*/ 216 h 4000"/>
              <a:gd name="T50" fmla="*/ 4542 w 6580"/>
              <a:gd name="T51" fmla="*/ 217 h 4000"/>
              <a:gd name="T52" fmla="*/ 4015 w 6580"/>
              <a:gd name="T53" fmla="*/ 0 h 4000"/>
              <a:gd name="T54" fmla="*/ 3419 w 6580"/>
              <a:gd name="T55" fmla="*/ 305 h 4000"/>
              <a:gd name="T56" fmla="*/ 3422 w 6580"/>
              <a:gd name="T57" fmla="*/ 314 h 4000"/>
              <a:gd name="T58" fmla="*/ 2853 w 6580"/>
              <a:gd name="T59" fmla="*/ 121 h 4000"/>
              <a:gd name="T60" fmla="*/ 2135 w 6580"/>
              <a:gd name="T61" fmla="*/ 478 h 4000"/>
              <a:gd name="T62" fmla="*/ 2132 w 6580"/>
              <a:gd name="T63" fmla="*/ 483 h 4000"/>
              <a:gd name="T64" fmla="*/ 1612 w 6580"/>
              <a:gd name="T65" fmla="*/ 367 h 4000"/>
              <a:gd name="T66" fmla="*/ 583 w 6580"/>
              <a:gd name="T67" fmla="*/ 1217 h 4000"/>
              <a:gd name="T68" fmla="*/ 593 w 6580"/>
              <a:gd name="T69" fmla="*/ 1330 h 4000"/>
              <a:gd name="T70" fmla="*/ 596 w 6580"/>
              <a:gd name="T71" fmla="*/ 1330 h 4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580" h="4000">
                <a:moveTo>
                  <a:pt x="596" y="1330"/>
                </a:moveTo>
                <a:cubicBezTo>
                  <a:pt x="257" y="1359"/>
                  <a:pt x="0" y="1596"/>
                  <a:pt x="0" y="1877"/>
                </a:cubicBezTo>
                <a:cubicBezTo>
                  <a:pt x="0" y="2072"/>
                  <a:pt x="125" y="2254"/>
                  <a:pt x="328" y="2353"/>
                </a:cubicBezTo>
                <a:lnTo>
                  <a:pt x="325" y="2346"/>
                </a:lnTo>
                <a:cubicBezTo>
                  <a:pt x="209" y="2448"/>
                  <a:pt x="146" y="2582"/>
                  <a:pt x="146" y="2721"/>
                </a:cubicBezTo>
                <a:cubicBezTo>
                  <a:pt x="146" y="3024"/>
                  <a:pt x="443" y="3269"/>
                  <a:pt x="811" y="3269"/>
                </a:cubicBezTo>
                <a:cubicBezTo>
                  <a:pt x="835" y="3269"/>
                  <a:pt x="862" y="3267"/>
                  <a:pt x="888" y="3265"/>
                </a:cubicBezTo>
                <a:lnTo>
                  <a:pt x="884" y="3269"/>
                </a:lnTo>
                <a:cubicBezTo>
                  <a:pt x="1094" y="3571"/>
                  <a:pt x="1482" y="3759"/>
                  <a:pt x="1905" y="3759"/>
                </a:cubicBezTo>
                <a:cubicBezTo>
                  <a:pt x="2118" y="3759"/>
                  <a:pt x="2327" y="3711"/>
                  <a:pt x="2510" y="3620"/>
                </a:cubicBezTo>
                <a:lnTo>
                  <a:pt x="2508" y="3621"/>
                </a:lnTo>
                <a:cubicBezTo>
                  <a:pt x="2698" y="3857"/>
                  <a:pt x="3019" y="4000"/>
                  <a:pt x="3363" y="4000"/>
                </a:cubicBezTo>
                <a:cubicBezTo>
                  <a:pt x="3816" y="4000"/>
                  <a:pt x="4216" y="3754"/>
                  <a:pt x="4347" y="3393"/>
                </a:cubicBezTo>
                <a:lnTo>
                  <a:pt x="4349" y="3398"/>
                </a:lnTo>
                <a:cubicBezTo>
                  <a:pt x="4488" y="3471"/>
                  <a:pt x="4650" y="3508"/>
                  <a:pt x="4815" y="3508"/>
                </a:cubicBezTo>
                <a:cubicBezTo>
                  <a:pt x="5299" y="3508"/>
                  <a:pt x="5692" y="3186"/>
                  <a:pt x="5696" y="2786"/>
                </a:cubicBezTo>
                <a:lnTo>
                  <a:pt x="5695" y="2785"/>
                </a:lnTo>
                <a:cubicBezTo>
                  <a:pt x="6202" y="2725"/>
                  <a:pt x="6580" y="2365"/>
                  <a:pt x="6580" y="1940"/>
                </a:cubicBezTo>
                <a:cubicBezTo>
                  <a:pt x="6580" y="1751"/>
                  <a:pt x="6505" y="1569"/>
                  <a:pt x="6367" y="1419"/>
                </a:cubicBezTo>
                <a:lnTo>
                  <a:pt x="6364" y="1419"/>
                </a:lnTo>
                <a:cubicBezTo>
                  <a:pt x="6408" y="1334"/>
                  <a:pt x="6431" y="1245"/>
                  <a:pt x="6431" y="1154"/>
                </a:cubicBezTo>
                <a:cubicBezTo>
                  <a:pt x="6431" y="849"/>
                  <a:pt x="6185" y="583"/>
                  <a:pt x="5832" y="504"/>
                </a:cubicBezTo>
                <a:lnTo>
                  <a:pt x="5835" y="503"/>
                </a:lnTo>
                <a:cubicBezTo>
                  <a:pt x="5771" y="212"/>
                  <a:pt x="5464" y="0"/>
                  <a:pt x="5107" y="0"/>
                </a:cubicBezTo>
                <a:cubicBezTo>
                  <a:pt x="4889" y="0"/>
                  <a:pt x="4683" y="79"/>
                  <a:pt x="4541" y="216"/>
                </a:cubicBezTo>
                <a:lnTo>
                  <a:pt x="4542" y="217"/>
                </a:lnTo>
                <a:cubicBezTo>
                  <a:pt x="4417" y="81"/>
                  <a:pt x="4222" y="0"/>
                  <a:pt x="4015" y="0"/>
                </a:cubicBezTo>
                <a:cubicBezTo>
                  <a:pt x="3763" y="0"/>
                  <a:pt x="3532" y="118"/>
                  <a:pt x="3419" y="305"/>
                </a:cubicBezTo>
                <a:lnTo>
                  <a:pt x="3422" y="314"/>
                </a:lnTo>
                <a:cubicBezTo>
                  <a:pt x="3269" y="190"/>
                  <a:pt x="3066" y="121"/>
                  <a:pt x="2853" y="121"/>
                </a:cubicBezTo>
                <a:cubicBezTo>
                  <a:pt x="2552" y="121"/>
                  <a:pt x="2275" y="258"/>
                  <a:pt x="2135" y="478"/>
                </a:cubicBezTo>
                <a:lnTo>
                  <a:pt x="2132" y="483"/>
                </a:lnTo>
                <a:cubicBezTo>
                  <a:pt x="1974" y="407"/>
                  <a:pt x="1796" y="367"/>
                  <a:pt x="1612" y="367"/>
                </a:cubicBezTo>
                <a:cubicBezTo>
                  <a:pt x="1044" y="367"/>
                  <a:pt x="583" y="746"/>
                  <a:pt x="583" y="1217"/>
                </a:cubicBezTo>
                <a:cubicBezTo>
                  <a:pt x="583" y="1254"/>
                  <a:pt x="586" y="1293"/>
                  <a:pt x="593" y="1330"/>
                </a:cubicBezTo>
                <a:lnTo>
                  <a:pt x="596" y="133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rnd">
            <a:solidFill>
              <a:srgbClr val="000000"/>
            </a:solidFill>
            <a:prstDash val="solid"/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6C8F0547-AFA8-4805-9A22-12721CDE959F}" type="slidenum">
              <a:rPr lang="en-GB"/>
              <a:pPr/>
              <a:t>8</a:t>
            </a:fld>
            <a:endParaRPr lang="en-GB"/>
          </a:p>
        </p:txBody>
      </p:sp>
      <p:sp>
        <p:nvSpPr>
          <p:cNvPr id="6145" name="Rectangle 1"/>
          <p:cNvSpPr>
            <a:spLocks noGrp="1" noChangeArrowheads="1"/>
          </p:cNvSpPr>
          <p:nvPr>
            <p:ph type="title"/>
          </p:nvPr>
        </p:nvSpPr>
        <p:spPr>
          <a:xfrm>
            <a:off x="467544" y="679444"/>
            <a:ext cx="8280920" cy="733332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dirty="0" smtClean="0"/>
              <a:t>Usage Model: </a:t>
            </a:r>
            <a:r>
              <a:rPr lang="en-US" dirty="0" err="1" smtClean="0">
                <a:solidFill>
                  <a:schemeClr val="dk2"/>
                </a:solidFill>
                <a:ea typeface="Times New Roman"/>
                <a:cs typeface="Times New Roman"/>
                <a:sym typeface="Times New Roman"/>
              </a:rPr>
              <a:t>mmWave</a:t>
            </a:r>
            <a:r>
              <a:rPr lang="en-US" dirty="0" smtClean="0">
                <a:solidFill>
                  <a:schemeClr val="dk2"/>
                </a:solidFill>
                <a:ea typeface="Times New Roman"/>
                <a:cs typeface="Times New Roman"/>
                <a:sym typeface="Times New Roman"/>
              </a:rPr>
              <a:t> </a:t>
            </a:r>
            <a:r>
              <a:rPr lang="en-GB" dirty="0" smtClean="0"/>
              <a:t>Distribution Network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22" name="Rechteck 21"/>
          <p:cNvSpPr/>
          <p:nvPr/>
        </p:nvSpPr>
        <p:spPr bwMode="gray">
          <a:xfrm>
            <a:off x="1424374" y="2507757"/>
            <a:ext cx="535244" cy="62686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3" name="Gleichschenkliges Dreieck 22"/>
          <p:cNvSpPr/>
          <p:nvPr/>
        </p:nvSpPr>
        <p:spPr bwMode="gray">
          <a:xfrm>
            <a:off x="1331640" y="2348880"/>
            <a:ext cx="727561" cy="16764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8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1" name="Rechteck 110"/>
          <p:cNvSpPr/>
          <p:nvPr/>
        </p:nvSpPr>
        <p:spPr bwMode="gray">
          <a:xfrm>
            <a:off x="5272387" y="2708920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7" name="Rechteck 136"/>
          <p:cNvSpPr/>
          <p:nvPr/>
        </p:nvSpPr>
        <p:spPr bwMode="gray">
          <a:xfrm>
            <a:off x="5269745" y="3760569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8" name="Rechteck 137"/>
          <p:cNvSpPr/>
          <p:nvPr/>
        </p:nvSpPr>
        <p:spPr bwMode="gray">
          <a:xfrm>
            <a:off x="5272387" y="4797152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9" name="Rechteck 138"/>
          <p:cNvSpPr/>
          <p:nvPr/>
        </p:nvSpPr>
        <p:spPr bwMode="gray">
          <a:xfrm>
            <a:off x="4236742" y="2209727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0" name="Rechteck 139"/>
          <p:cNvSpPr/>
          <p:nvPr/>
        </p:nvSpPr>
        <p:spPr bwMode="gray">
          <a:xfrm>
            <a:off x="4236742" y="3253843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1" name="Rechteck 140"/>
          <p:cNvSpPr/>
          <p:nvPr/>
        </p:nvSpPr>
        <p:spPr bwMode="gray">
          <a:xfrm>
            <a:off x="4236742" y="4297959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2" name="Rechteck 141"/>
          <p:cNvSpPr/>
          <p:nvPr/>
        </p:nvSpPr>
        <p:spPr bwMode="gray">
          <a:xfrm>
            <a:off x="3181404" y="2708920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3" name="Rechteck 142"/>
          <p:cNvSpPr/>
          <p:nvPr/>
        </p:nvSpPr>
        <p:spPr bwMode="gray">
          <a:xfrm>
            <a:off x="3181404" y="3753036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4" name="Rechteck 143"/>
          <p:cNvSpPr/>
          <p:nvPr/>
        </p:nvSpPr>
        <p:spPr bwMode="gray">
          <a:xfrm>
            <a:off x="3181404" y="4797152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9" name="Rechteck 148"/>
          <p:cNvSpPr/>
          <p:nvPr/>
        </p:nvSpPr>
        <p:spPr bwMode="gray">
          <a:xfrm>
            <a:off x="5580112" y="2604505"/>
            <a:ext cx="207640" cy="524940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vert270" wrap="square" lIns="0" tIns="0" rIns="0" bIns="0" rtlCol="0" anchor="ctr" anchorCtr="0">
            <a:noAutofit/>
          </a:bodyPr>
          <a:lstStyle/>
          <a:p>
            <a:pPr algn="ctr" defTabSz="457293" fontAlgn="base">
              <a:lnSpc>
                <a:spcPct val="80000"/>
              </a:lnSpc>
              <a:buClr>
                <a:srgbClr val="E20074"/>
              </a:buClr>
              <a:buSzPct val="75000"/>
            </a:pPr>
            <a:r>
              <a:rPr lang="de-DE" sz="1000" dirty="0" smtClean="0">
                <a:solidFill>
                  <a:srgbClr val="000000"/>
                </a:solidFill>
                <a:latin typeface="Tele-GroteskNor" pitchFamily="2" charset="0"/>
                <a:cs typeface="Arial Unicode MS" panose="020B0604020202020204" pitchFamily="34" charset="-128"/>
              </a:rPr>
              <a:t>Fiber PoP</a:t>
            </a:r>
            <a:endParaRPr lang="de-DE" sz="10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cxnSp>
        <p:nvCxnSpPr>
          <p:cNvPr id="152" name="Gerade Verbindung 151"/>
          <p:cNvCxnSpPr>
            <a:stCxn id="139" idx="1"/>
            <a:endCxn id="142" idx="3"/>
          </p:cNvCxnSpPr>
          <p:nvPr/>
        </p:nvCxnSpPr>
        <p:spPr>
          <a:xfrm flipH="1">
            <a:off x="3489129" y="2363590"/>
            <a:ext cx="747613" cy="499193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154"/>
          <p:cNvCxnSpPr>
            <a:stCxn id="111" idx="1"/>
            <a:endCxn id="139" idx="3"/>
          </p:cNvCxnSpPr>
          <p:nvPr/>
        </p:nvCxnSpPr>
        <p:spPr>
          <a:xfrm flipH="1" flipV="1">
            <a:off x="4544467" y="2363590"/>
            <a:ext cx="727920" cy="499193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>
            <a:stCxn id="111" idx="1"/>
            <a:endCxn id="140" idx="3"/>
          </p:cNvCxnSpPr>
          <p:nvPr/>
        </p:nvCxnSpPr>
        <p:spPr>
          <a:xfrm flipH="1">
            <a:off x="4544467" y="2862783"/>
            <a:ext cx="727920" cy="544923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1" name="Gerade Verbindung 160"/>
          <p:cNvCxnSpPr>
            <a:stCxn id="137" idx="1"/>
            <a:endCxn id="140" idx="3"/>
          </p:cNvCxnSpPr>
          <p:nvPr/>
        </p:nvCxnSpPr>
        <p:spPr>
          <a:xfrm flipH="1" flipV="1">
            <a:off x="4544467" y="3407706"/>
            <a:ext cx="725278" cy="506726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4" name="Gerade Verbindung 163"/>
          <p:cNvCxnSpPr>
            <a:stCxn id="138" idx="1"/>
            <a:endCxn id="141" idx="3"/>
          </p:cNvCxnSpPr>
          <p:nvPr/>
        </p:nvCxnSpPr>
        <p:spPr>
          <a:xfrm flipH="1" flipV="1">
            <a:off x="4544467" y="4451822"/>
            <a:ext cx="727920" cy="499193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166"/>
          <p:cNvCxnSpPr>
            <a:stCxn id="137" idx="1"/>
            <a:endCxn id="141" idx="3"/>
          </p:cNvCxnSpPr>
          <p:nvPr/>
        </p:nvCxnSpPr>
        <p:spPr>
          <a:xfrm flipH="1">
            <a:off x="4544467" y="3914432"/>
            <a:ext cx="725278" cy="53739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169"/>
          <p:cNvCxnSpPr>
            <a:stCxn id="140" idx="1"/>
            <a:endCxn id="143" idx="3"/>
          </p:cNvCxnSpPr>
          <p:nvPr/>
        </p:nvCxnSpPr>
        <p:spPr>
          <a:xfrm flipH="1">
            <a:off x="3489129" y="3407706"/>
            <a:ext cx="747613" cy="499193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3" name="Gerade Verbindung 172"/>
          <p:cNvCxnSpPr>
            <a:stCxn id="140" idx="1"/>
            <a:endCxn id="142" idx="3"/>
          </p:cNvCxnSpPr>
          <p:nvPr/>
        </p:nvCxnSpPr>
        <p:spPr>
          <a:xfrm flipH="1" flipV="1">
            <a:off x="3489129" y="2862783"/>
            <a:ext cx="747613" cy="544923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6" name="Gerade Verbindung 175"/>
          <p:cNvCxnSpPr>
            <a:stCxn id="141" idx="1"/>
            <a:endCxn id="144" idx="3"/>
          </p:cNvCxnSpPr>
          <p:nvPr/>
        </p:nvCxnSpPr>
        <p:spPr>
          <a:xfrm flipH="1">
            <a:off x="3489129" y="4451822"/>
            <a:ext cx="747613" cy="499193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9" name="Gerade Verbindung 178"/>
          <p:cNvCxnSpPr>
            <a:stCxn id="141" idx="1"/>
            <a:endCxn id="143" idx="3"/>
          </p:cNvCxnSpPr>
          <p:nvPr/>
        </p:nvCxnSpPr>
        <p:spPr>
          <a:xfrm flipH="1" flipV="1">
            <a:off x="3489129" y="3906899"/>
            <a:ext cx="747613" cy="544923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2" name="Gerade Verbindung 181"/>
          <p:cNvCxnSpPr>
            <a:stCxn id="138" idx="1"/>
          </p:cNvCxnSpPr>
          <p:nvPr/>
        </p:nvCxnSpPr>
        <p:spPr>
          <a:xfrm flipH="1">
            <a:off x="5004048" y="4951015"/>
            <a:ext cx="268339" cy="278185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184"/>
          <p:cNvCxnSpPr/>
          <p:nvPr/>
        </p:nvCxnSpPr>
        <p:spPr>
          <a:xfrm>
            <a:off x="5787752" y="4955207"/>
            <a:ext cx="656456" cy="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89"/>
          <p:cNvCxnSpPr>
            <a:stCxn id="149" idx="3"/>
          </p:cNvCxnSpPr>
          <p:nvPr/>
        </p:nvCxnSpPr>
        <p:spPr>
          <a:xfrm>
            <a:off x="5787752" y="2866975"/>
            <a:ext cx="728464" cy="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174" name="Gruppieren 6173"/>
          <p:cNvGrpSpPr/>
          <p:nvPr/>
        </p:nvGrpSpPr>
        <p:grpSpPr>
          <a:xfrm rot="16200000">
            <a:off x="5989235" y="4852456"/>
            <a:ext cx="80520" cy="124981"/>
            <a:chOff x="6014084" y="4701418"/>
            <a:chExt cx="80520" cy="124981"/>
          </a:xfrm>
        </p:grpSpPr>
        <p:sp>
          <p:nvSpPr>
            <p:cNvPr id="193" name="Ellipse 192"/>
            <p:cNvSpPr/>
            <p:nvPr/>
          </p:nvSpPr>
          <p:spPr bwMode="gray">
            <a:xfrm>
              <a:off x="6014085" y="4745880"/>
              <a:ext cx="80519" cy="80519"/>
            </a:xfrm>
            <a:prstGeom prst="ellipse">
              <a:avLst/>
            </a:prstGeom>
            <a:noFill/>
            <a:ln w="1905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square" lIns="36000" tIns="108000" rIns="36000" bIns="108000" rtlCol="0" anchor="ctr" anchorCtr="0">
              <a:noAutofit/>
            </a:bodyPr>
            <a:lstStyle/>
            <a:p>
              <a:pPr algn="ctr" defTabSz="457293" fontAlgn="base">
                <a:lnSpc>
                  <a:spcPct val="90000"/>
                </a:lnSpc>
                <a:buClr>
                  <a:srgbClr val="E20074"/>
                </a:buClr>
                <a:buSzPct val="75000"/>
              </a:pPr>
              <a:endParaRPr lang="de-DE" sz="1800" dirty="0">
                <a:solidFill>
                  <a:srgbClr val="000000"/>
                </a:solidFill>
                <a:latin typeface="Tele-GroteskNor" pitchFamily="2" charset="0"/>
                <a:cs typeface="Arial Unicode MS" panose="020B0604020202020204" pitchFamily="34" charset="-128"/>
              </a:endParaRPr>
            </a:p>
          </p:txBody>
        </p:sp>
        <p:sp>
          <p:nvSpPr>
            <p:cNvPr id="194" name="Ellipse 193"/>
            <p:cNvSpPr/>
            <p:nvPr/>
          </p:nvSpPr>
          <p:spPr bwMode="gray">
            <a:xfrm>
              <a:off x="6014084" y="4701418"/>
              <a:ext cx="80519" cy="80519"/>
            </a:xfrm>
            <a:prstGeom prst="ellipse">
              <a:avLst/>
            </a:prstGeom>
            <a:noFill/>
            <a:ln w="1905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square" lIns="36000" tIns="108000" rIns="36000" bIns="108000" rtlCol="0" anchor="ctr" anchorCtr="0">
              <a:noAutofit/>
            </a:bodyPr>
            <a:lstStyle/>
            <a:p>
              <a:pPr algn="ctr" defTabSz="457293" fontAlgn="base">
                <a:lnSpc>
                  <a:spcPct val="90000"/>
                </a:lnSpc>
                <a:buClr>
                  <a:srgbClr val="E20074"/>
                </a:buClr>
                <a:buSzPct val="75000"/>
              </a:pPr>
              <a:endParaRPr lang="de-DE" sz="1800" dirty="0">
                <a:solidFill>
                  <a:srgbClr val="000000"/>
                </a:solidFill>
                <a:latin typeface="Tele-GroteskNor" pitchFamily="2" charset="0"/>
                <a:cs typeface="Arial Unicode MS" panose="020B0604020202020204" pitchFamily="34" charset="-128"/>
              </a:endParaRPr>
            </a:p>
          </p:txBody>
        </p:sp>
      </p:grpSp>
      <p:grpSp>
        <p:nvGrpSpPr>
          <p:cNvPr id="199" name="Gruppieren 198"/>
          <p:cNvGrpSpPr/>
          <p:nvPr/>
        </p:nvGrpSpPr>
        <p:grpSpPr>
          <a:xfrm rot="16200000">
            <a:off x="5989235" y="2758698"/>
            <a:ext cx="80520" cy="124981"/>
            <a:chOff x="6014084" y="4701418"/>
            <a:chExt cx="80520" cy="124981"/>
          </a:xfrm>
        </p:grpSpPr>
        <p:sp>
          <p:nvSpPr>
            <p:cNvPr id="200" name="Ellipse 199"/>
            <p:cNvSpPr/>
            <p:nvPr/>
          </p:nvSpPr>
          <p:spPr bwMode="gray">
            <a:xfrm>
              <a:off x="6014085" y="4745880"/>
              <a:ext cx="80519" cy="80519"/>
            </a:xfrm>
            <a:prstGeom prst="ellipse">
              <a:avLst/>
            </a:prstGeom>
            <a:noFill/>
            <a:ln w="1905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square" lIns="36000" tIns="108000" rIns="36000" bIns="108000" rtlCol="0" anchor="ctr" anchorCtr="0">
              <a:noAutofit/>
            </a:bodyPr>
            <a:lstStyle/>
            <a:p>
              <a:pPr algn="ctr" defTabSz="457293" fontAlgn="base">
                <a:lnSpc>
                  <a:spcPct val="90000"/>
                </a:lnSpc>
                <a:buClr>
                  <a:srgbClr val="E20074"/>
                </a:buClr>
                <a:buSzPct val="75000"/>
              </a:pPr>
              <a:endParaRPr lang="de-DE" sz="1800" dirty="0">
                <a:solidFill>
                  <a:srgbClr val="000000"/>
                </a:solidFill>
                <a:latin typeface="Tele-GroteskNor" pitchFamily="2" charset="0"/>
                <a:cs typeface="Arial Unicode MS" panose="020B0604020202020204" pitchFamily="34" charset="-128"/>
              </a:endParaRPr>
            </a:p>
          </p:txBody>
        </p:sp>
        <p:sp>
          <p:nvSpPr>
            <p:cNvPr id="201" name="Ellipse 200"/>
            <p:cNvSpPr/>
            <p:nvPr/>
          </p:nvSpPr>
          <p:spPr bwMode="gray">
            <a:xfrm>
              <a:off x="6014084" y="4701418"/>
              <a:ext cx="80519" cy="80519"/>
            </a:xfrm>
            <a:prstGeom prst="ellipse">
              <a:avLst/>
            </a:prstGeom>
            <a:noFill/>
            <a:ln w="1905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square" lIns="36000" tIns="108000" rIns="36000" bIns="108000" rtlCol="0" anchor="ctr" anchorCtr="0">
              <a:noAutofit/>
            </a:bodyPr>
            <a:lstStyle/>
            <a:p>
              <a:pPr algn="ctr" defTabSz="457293" fontAlgn="base">
                <a:lnSpc>
                  <a:spcPct val="90000"/>
                </a:lnSpc>
                <a:buClr>
                  <a:srgbClr val="E20074"/>
                </a:buClr>
                <a:buSzPct val="75000"/>
              </a:pPr>
              <a:endParaRPr lang="de-DE" sz="1800" dirty="0">
                <a:solidFill>
                  <a:srgbClr val="000000"/>
                </a:solidFill>
                <a:latin typeface="Tele-GroteskNor" pitchFamily="2" charset="0"/>
                <a:cs typeface="Arial Unicode MS" panose="020B0604020202020204" pitchFamily="34" charset="-128"/>
              </a:endParaRPr>
            </a:p>
          </p:txBody>
        </p:sp>
      </p:grpSp>
      <p:sp>
        <p:nvSpPr>
          <p:cNvPr id="6175" name="Rechteck 6174"/>
          <p:cNvSpPr/>
          <p:nvPr/>
        </p:nvSpPr>
        <p:spPr>
          <a:xfrm>
            <a:off x="5850574" y="2858989"/>
            <a:ext cx="48282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iber</a:t>
            </a:r>
            <a:endParaRPr lang="de-DE" sz="1200" dirty="0"/>
          </a:p>
        </p:txBody>
      </p:sp>
      <p:sp>
        <p:nvSpPr>
          <p:cNvPr id="203" name="Rechteck 202"/>
          <p:cNvSpPr/>
          <p:nvPr/>
        </p:nvSpPr>
        <p:spPr>
          <a:xfrm>
            <a:off x="3732717" y="4616086"/>
            <a:ext cx="1266692" cy="7571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kern="0" dirty="0" err="1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6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/>
            </a:r>
            <a:br>
              <a:rPr lang="en-US" sz="16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6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 Distribution</a:t>
            </a:r>
            <a:br>
              <a:rPr lang="en-US" sz="16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6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Network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 bwMode="gray">
          <a:xfrm>
            <a:off x="1424374" y="3594228"/>
            <a:ext cx="535244" cy="62686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21" name="Gleichschenkliges Dreieck 220"/>
          <p:cNvSpPr/>
          <p:nvPr/>
        </p:nvSpPr>
        <p:spPr bwMode="gray">
          <a:xfrm>
            <a:off x="1331640" y="3435351"/>
            <a:ext cx="727561" cy="16764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8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54" name="Rechteck 153"/>
          <p:cNvSpPr/>
          <p:nvPr/>
        </p:nvSpPr>
        <p:spPr bwMode="auto">
          <a:xfrm>
            <a:off x="1475656" y="3684624"/>
            <a:ext cx="176424" cy="1764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sp>
        <p:nvSpPr>
          <p:cNvPr id="235" name="Rechteck 234"/>
          <p:cNvSpPr/>
          <p:nvPr/>
        </p:nvSpPr>
        <p:spPr bwMode="auto">
          <a:xfrm>
            <a:off x="1723971" y="3684624"/>
            <a:ext cx="176424" cy="1764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sp>
        <p:nvSpPr>
          <p:cNvPr id="236" name="Rechteck 235"/>
          <p:cNvSpPr/>
          <p:nvPr/>
        </p:nvSpPr>
        <p:spPr bwMode="auto">
          <a:xfrm>
            <a:off x="1479080" y="3941795"/>
            <a:ext cx="176424" cy="1764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sp>
        <p:nvSpPr>
          <p:cNvPr id="237" name="Rechteck 236"/>
          <p:cNvSpPr/>
          <p:nvPr/>
        </p:nvSpPr>
        <p:spPr bwMode="auto">
          <a:xfrm>
            <a:off x="1723971" y="3940109"/>
            <a:ext cx="176424" cy="1764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sp>
        <p:nvSpPr>
          <p:cNvPr id="238" name="Rechteck 237"/>
          <p:cNvSpPr/>
          <p:nvPr/>
        </p:nvSpPr>
        <p:spPr bwMode="auto">
          <a:xfrm>
            <a:off x="1483977" y="2604504"/>
            <a:ext cx="176424" cy="1764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sp>
        <p:nvSpPr>
          <p:cNvPr id="239" name="Rechteck 238"/>
          <p:cNvSpPr/>
          <p:nvPr/>
        </p:nvSpPr>
        <p:spPr bwMode="auto">
          <a:xfrm>
            <a:off x="1732292" y="2604504"/>
            <a:ext cx="176424" cy="1764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sp>
        <p:nvSpPr>
          <p:cNvPr id="240" name="Rechteck 239"/>
          <p:cNvSpPr/>
          <p:nvPr/>
        </p:nvSpPr>
        <p:spPr bwMode="auto">
          <a:xfrm>
            <a:off x="1487401" y="2861675"/>
            <a:ext cx="176424" cy="1764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sp>
        <p:nvSpPr>
          <p:cNvPr id="241" name="Rechteck 240"/>
          <p:cNvSpPr/>
          <p:nvPr/>
        </p:nvSpPr>
        <p:spPr bwMode="auto">
          <a:xfrm>
            <a:off x="1732292" y="2859989"/>
            <a:ext cx="176424" cy="1764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grpSp>
        <p:nvGrpSpPr>
          <p:cNvPr id="211" name="Gruppieren 210"/>
          <p:cNvGrpSpPr/>
          <p:nvPr/>
        </p:nvGrpSpPr>
        <p:grpSpPr>
          <a:xfrm>
            <a:off x="1784500" y="2620708"/>
            <a:ext cx="87144" cy="144016"/>
            <a:chOff x="2502942" y="2348880"/>
            <a:chExt cx="87144" cy="144016"/>
          </a:xfrm>
        </p:grpSpPr>
        <p:cxnSp>
          <p:nvCxnSpPr>
            <p:cNvPr id="212" name="Gerade Verbindung 211"/>
            <p:cNvCxnSpPr/>
            <p:nvPr/>
          </p:nvCxnSpPr>
          <p:spPr bwMode="auto">
            <a:xfrm>
              <a:off x="2502942" y="2491286"/>
              <a:ext cx="72008" cy="0"/>
            </a:xfrm>
            <a:prstGeom prst="line">
              <a:avLst/>
            </a:prstGeom>
            <a:solidFill>
              <a:srgbClr val="00B8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3" name="Gerade Verbindung 212"/>
            <p:cNvCxnSpPr/>
            <p:nvPr/>
          </p:nvCxnSpPr>
          <p:spPr bwMode="auto">
            <a:xfrm rot="5400000">
              <a:off x="2518078" y="2420888"/>
              <a:ext cx="144016" cy="0"/>
            </a:xfrm>
            <a:prstGeom prst="line">
              <a:avLst/>
            </a:prstGeom>
            <a:solidFill>
              <a:srgbClr val="00B8FF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214" name="Gruppieren 213"/>
          <p:cNvGrpSpPr/>
          <p:nvPr/>
        </p:nvGrpSpPr>
        <p:grpSpPr>
          <a:xfrm>
            <a:off x="1539743" y="2872629"/>
            <a:ext cx="87144" cy="144016"/>
            <a:chOff x="2502942" y="2348880"/>
            <a:chExt cx="87144" cy="144016"/>
          </a:xfrm>
        </p:grpSpPr>
        <p:cxnSp>
          <p:nvCxnSpPr>
            <p:cNvPr id="215" name="Gerade Verbindung 214"/>
            <p:cNvCxnSpPr/>
            <p:nvPr/>
          </p:nvCxnSpPr>
          <p:spPr bwMode="auto">
            <a:xfrm>
              <a:off x="2502942" y="2491286"/>
              <a:ext cx="72008" cy="0"/>
            </a:xfrm>
            <a:prstGeom prst="line">
              <a:avLst/>
            </a:prstGeom>
            <a:solidFill>
              <a:srgbClr val="00B8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6" name="Gerade Verbindung 215"/>
            <p:cNvCxnSpPr/>
            <p:nvPr/>
          </p:nvCxnSpPr>
          <p:spPr bwMode="auto">
            <a:xfrm rot="5400000">
              <a:off x="2518078" y="2420888"/>
              <a:ext cx="144016" cy="0"/>
            </a:xfrm>
            <a:prstGeom prst="line">
              <a:avLst/>
            </a:prstGeom>
            <a:solidFill>
              <a:srgbClr val="00B8FF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78" name="Rechteck 277"/>
          <p:cNvSpPr/>
          <p:nvPr/>
        </p:nvSpPr>
        <p:spPr>
          <a:xfrm>
            <a:off x="367891" y="3789040"/>
            <a:ext cx="90120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) WTTB</a:t>
            </a:r>
            <a:endParaRPr lang="de-DE" sz="1400" dirty="0"/>
          </a:p>
        </p:txBody>
      </p:sp>
      <p:sp>
        <p:nvSpPr>
          <p:cNvPr id="279" name="Rechteck 278"/>
          <p:cNvSpPr/>
          <p:nvPr/>
        </p:nvSpPr>
        <p:spPr>
          <a:xfrm>
            <a:off x="367891" y="2647945"/>
            <a:ext cx="91082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) WTTH</a:t>
            </a:r>
            <a:endParaRPr lang="de-DE" sz="1400" dirty="0"/>
          </a:p>
        </p:txBody>
      </p:sp>
      <p:sp>
        <p:nvSpPr>
          <p:cNvPr id="280" name="Rechteck 279"/>
          <p:cNvSpPr/>
          <p:nvPr/>
        </p:nvSpPr>
        <p:spPr>
          <a:xfrm>
            <a:off x="367891" y="4880193"/>
            <a:ext cx="110776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) Wi-Fi AP/</a:t>
            </a:r>
            <a:r>
              <a:rPr lang="en-US" sz="14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 Small </a:t>
            </a:r>
            <a:r>
              <a:rPr lang="en-US" sz="1400" kern="0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C</a:t>
            </a:r>
            <a:r>
              <a:rPr lang="en-US" sz="14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ell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21" name="Freeform 11"/>
          <p:cNvSpPr>
            <a:spLocks/>
          </p:cNvSpPr>
          <p:nvPr/>
        </p:nvSpPr>
        <p:spPr bwMode="auto">
          <a:xfrm>
            <a:off x="6276830" y="2209726"/>
            <a:ext cx="1985962" cy="3502945"/>
          </a:xfrm>
          <a:custGeom>
            <a:avLst/>
            <a:gdLst>
              <a:gd name="T0" fmla="*/ 596 w 6580"/>
              <a:gd name="T1" fmla="*/ 1330 h 4000"/>
              <a:gd name="T2" fmla="*/ 0 w 6580"/>
              <a:gd name="T3" fmla="*/ 1877 h 4000"/>
              <a:gd name="T4" fmla="*/ 328 w 6580"/>
              <a:gd name="T5" fmla="*/ 2353 h 4000"/>
              <a:gd name="T6" fmla="*/ 325 w 6580"/>
              <a:gd name="T7" fmla="*/ 2346 h 4000"/>
              <a:gd name="T8" fmla="*/ 146 w 6580"/>
              <a:gd name="T9" fmla="*/ 2721 h 4000"/>
              <a:gd name="T10" fmla="*/ 811 w 6580"/>
              <a:gd name="T11" fmla="*/ 3269 h 4000"/>
              <a:gd name="T12" fmla="*/ 888 w 6580"/>
              <a:gd name="T13" fmla="*/ 3265 h 4000"/>
              <a:gd name="T14" fmla="*/ 884 w 6580"/>
              <a:gd name="T15" fmla="*/ 3269 h 4000"/>
              <a:gd name="T16" fmla="*/ 1905 w 6580"/>
              <a:gd name="T17" fmla="*/ 3759 h 4000"/>
              <a:gd name="T18" fmla="*/ 2510 w 6580"/>
              <a:gd name="T19" fmla="*/ 3620 h 4000"/>
              <a:gd name="T20" fmla="*/ 2508 w 6580"/>
              <a:gd name="T21" fmla="*/ 3621 h 4000"/>
              <a:gd name="T22" fmla="*/ 3363 w 6580"/>
              <a:gd name="T23" fmla="*/ 4000 h 4000"/>
              <a:gd name="T24" fmla="*/ 4347 w 6580"/>
              <a:gd name="T25" fmla="*/ 3393 h 4000"/>
              <a:gd name="T26" fmla="*/ 4349 w 6580"/>
              <a:gd name="T27" fmla="*/ 3398 h 4000"/>
              <a:gd name="T28" fmla="*/ 4815 w 6580"/>
              <a:gd name="T29" fmla="*/ 3508 h 4000"/>
              <a:gd name="T30" fmla="*/ 5696 w 6580"/>
              <a:gd name="T31" fmla="*/ 2786 h 4000"/>
              <a:gd name="T32" fmla="*/ 5695 w 6580"/>
              <a:gd name="T33" fmla="*/ 2785 h 4000"/>
              <a:gd name="T34" fmla="*/ 6580 w 6580"/>
              <a:gd name="T35" fmla="*/ 1940 h 4000"/>
              <a:gd name="T36" fmla="*/ 6367 w 6580"/>
              <a:gd name="T37" fmla="*/ 1419 h 4000"/>
              <a:gd name="T38" fmla="*/ 6364 w 6580"/>
              <a:gd name="T39" fmla="*/ 1419 h 4000"/>
              <a:gd name="T40" fmla="*/ 6431 w 6580"/>
              <a:gd name="T41" fmla="*/ 1154 h 4000"/>
              <a:gd name="T42" fmla="*/ 5832 w 6580"/>
              <a:gd name="T43" fmla="*/ 504 h 4000"/>
              <a:gd name="T44" fmla="*/ 5835 w 6580"/>
              <a:gd name="T45" fmla="*/ 503 h 4000"/>
              <a:gd name="T46" fmla="*/ 5107 w 6580"/>
              <a:gd name="T47" fmla="*/ 0 h 4000"/>
              <a:gd name="T48" fmla="*/ 4541 w 6580"/>
              <a:gd name="T49" fmla="*/ 216 h 4000"/>
              <a:gd name="T50" fmla="*/ 4542 w 6580"/>
              <a:gd name="T51" fmla="*/ 217 h 4000"/>
              <a:gd name="T52" fmla="*/ 4015 w 6580"/>
              <a:gd name="T53" fmla="*/ 0 h 4000"/>
              <a:gd name="T54" fmla="*/ 3419 w 6580"/>
              <a:gd name="T55" fmla="*/ 305 h 4000"/>
              <a:gd name="T56" fmla="*/ 3422 w 6580"/>
              <a:gd name="T57" fmla="*/ 314 h 4000"/>
              <a:gd name="T58" fmla="*/ 2853 w 6580"/>
              <a:gd name="T59" fmla="*/ 121 h 4000"/>
              <a:gd name="T60" fmla="*/ 2135 w 6580"/>
              <a:gd name="T61" fmla="*/ 478 h 4000"/>
              <a:gd name="T62" fmla="*/ 2132 w 6580"/>
              <a:gd name="T63" fmla="*/ 483 h 4000"/>
              <a:gd name="T64" fmla="*/ 1612 w 6580"/>
              <a:gd name="T65" fmla="*/ 367 h 4000"/>
              <a:gd name="T66" fmla="*/ 583 w 6580"/>
              <a:gd name="T67" fmla="*/ 1217 h 4000"/>
              <a:gd name="T68" fmla="*/ 593 w 6580"/>
              <a:gd name="T69" fmla="*/ 1330 h 4000"/>
              <a:gd name="T70" fmla="*/ 596 w 6580"/>
              <a:gd name="T71" fmla="*/ 1330 h 4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580" h="4000">
                <a:moveTo>
                  <a:pt x="596" y="1330"/>
                </a:moveTo>
                <a:cubicBezTo>
                  <a:pt x="257" y="1359"/>
                  <a:pt x="0" y="1596"/>
                  <a:pt x="0" y="1877"/>
                </a:cubicBezTo>
                <a:cubicBezTo>
                  <a:pt x="0" y="2072"/>
                  <a:pt x="125" y="2254"/>
                  <a:pt x="328" y="2353"/>
                </a:cubicBezTo>
                <a:lnTo>
                  <a:pt x="325" y="2346"/>
                </a:lnTo>
                <a:cubicBezTo>
                  <a:pt x="209" y="2448"/>
                  <a:pt x="146" y="2582"/>
                  <a:pt x="146" y="2721"/>
                </a:cubicBezTo>
                <a:cubicBezTo>
                  <a:pt x="146" y="3024"/>
                  <a:pt x="443" y="3269"/>
                  <a:pt x="811" y="3269"/>
                </a:cubicBezTo>
                <a:cubicBezTo>
                  <a:pt x="835" y="3269"/>
                  <a:pt x="862" y="3267"/>
                  <a:pt x="888" y="3265"/>
                </a:cubicBezTo>
                <a:lnTo>
                  <a:pt x="884" y="3269"/>
                </a:lnTo>
                <a:cubicBezTo>
                  <a:pt x="1094" y="3571"/>
                  <a:pt x="1482" y="3759"/>
                  <a:pt x="1905" y="3759"/>
                </a:cubicBezTo>
                <a:cubicBezTo>
                  <a:pt x="2118" y="3759"/>
                  <a:pt x="2327" y="3711"/>
                  <a:pt x="2510" y="3620"/>
                </a:cubicBezTo>
                <a:lnTo>
                  <a:pt x="2508" y="3621"/>
                </a:lnTo>
                <a:cubicBezTo>
                  <a:pt x="2698" y="3857"/>
                  <a:pt x="3019" y="4000"/>
                  <a:pt x="3363" y="4000"/>
                </a:cubicBezTo>
                <a:cubicBezTo>
                  <a:pt x="3816" y="4000"/>
                  <a:pt x="4216" y="3754"/>
                  <a:pt x="4347" y="3393"/>
                </a:cubicBezTo>
                <a:lnTo>
                  <a:pt x="4349" y="3398"/>
                </a:lnTo>
                <a:cubicBezTo>
                  <a:pt x="4488" y="3471"/>
                  <a:pt x="4650" y="3508"/>
                  <a:pt x="4815" y="3508"/>
                </a:cubicBezTo>
                <a:cubicBezTo>
                  <a:pt x="5299" y="3508"/>
                  <a:pt x="5692" y="3186"/>
                  <a:pt x="5696" y="2786"/>
                </a:cubicBezTo>
                <a:lnTo>
                  <a:pt x="5695" y="2785"/>
                </a:lnTo>
                <a:cubicBezTo>
                  <a:pt x="6202" y="2725"/>
                  <a:pt x="6580" y="2365"/>
                  <a:pt x="6580" y="1940"/>
                </a:cubicBezTo>
                <a:cubicBezTo>
                  <a:pt x="6580" y="1751"/>
                  <a:pt x="6505" y="1569"/>
                  <a:pt x="6367" y="1419"/>
                </a:cubicBezTo>
                <a:lnTo>
                  <a:pt x="6364" y="1419"/>
                </a:lnTo>
                <a:cubicBezTo>
                  <a:pt x="6408" y="1334"/>
                  <a:pt x="6431" y="1245"/>
                  <a:pt x="6431" y="1154"/>
                </a:cubicBezTo>
                <a:cubicBezTo>
                  <a:pt x="6431" y="849"/>
                  <a:pt x="6185" y="583"/>
                  <a:pt x="5832" y="504"/>
                </a:cubicBezTo>
                <a:lnTo>
                  <a:pt x="5835" y="503"/>
                </a:lnTo>
                <a:cubicBezTo>
                  <a:pt x="5771" y="212"/>
                  <a:pt x="5464" y="0"/>
                  <a:pt x="5107" y="0"/>
                </a:cubicBezTo>
                <a:cubicBezTo>
                  <a:pt x="4889" y="0"/>
                  <a:pt x="4683" y="79"/>
                  <a:pt x="4541" y="216"/>
                </a:cubicBezTo>
                <a:lnTo>
                  <a:pt x="4542" y="217"/>
                </a:lnTo>
                <a:cubicBezTo>
                  <a:pt x="4417" y="81"/>
                  <a:pt x="4222" y="0"/>
                  <a:pt x="4015" y="0"/>
                </a:cubicBezTo>
                <a:cubicBezTo>
                  <a:pt x="3763" y="0"/>
                  <a:pt x="3532" y="118"/>
                  <a:pt x="3419" y="305"/>
                </a:cubicBezTo>
                <a:lnTo>
                  <a:pt x="3422" y="314"/>
                </a:lnTo>
                <a:cubicBezTo>
                  <a:pt x="3269" y="190"/>
                  <a:pt x="3066" y="121"/>
                  <a:pt x="2853" y="121"/>
                </a:cubicBezTo>
                <a:cubicBezTo>
                  <a:pt x="2552" y="121"/>
                  <a:pt x="2275" y="258"/>
                  <a:pt x="2135" y="478"/>
                </a:cubicBezTo>
                <a:lnTo>
                  <a:pt x="2132" y="483"/>
                </a:lnTo>
                <a:cubicBezTo>
                  <a:pt x="1974" y="407"/>
                  <a:pt x="1796" y="367"/>
                  <a:pt x="1612" y="367"/>
                </a:cubicBezTo>
                <a:cubicBezTo>
                  <a:pt x="1044" y="367"/>
                  <a:pt x="583" y="746"/>
                  <a:pt x="583" y="1217"/>
                </a:cubicBezTo>
                <a:cubicBezTo>
                  <a:pt x="583" y="1254"/>
                  <a:pt x="586" y="1293"/>
                  <a:pt x="593" y="1330"/>
                </a:cubicBezTo>
                <a:lnTo>
                  <a:pt x="596" y="133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rnd">
            <a:solidFill>
              <a:srgbClr val="000000"/>
            </a:solidFill>
            <a:prstDash val="solid"/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6806740" y="3645024"/>
            <a:ext cx="94769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rovider</a:t>
            </a:r>
            <a:br>
              <a:rPr lang="en-US" sz="16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6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Network</a:t>
            </a:r>
            <a:endParaRPr lang="de-DE" sz="1600" dirty="0"/>
          </a:p>
        </p:txBody>
      </p:sp>
      <p:sp>
        <p:nvSpPr>
          <p:cNvPr id="329" name="Rechteck 328"/>
          <p:cNvSpPr/>
          <p:nvPr/>
        </p:nvSpPr>
        <p:spPr bwMode="gray">
          <a:xfrm>
            <a:off x="3033995" y="6025479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7081783" y="5949280"/>
            <a:ext cx="123463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ptical fiber</a:t>
            </a:r>
            <a:br>
              <a:rPr lang="en-US" sz="11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1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ermination node</a:t>
            </a:r>
            <a:endParaRPr lang="de-DE" sz="1100" dirty="0"/>
          </a:p>
        </p:txBody>
      </p:sp>
      <p:cxnSp>
        <p:nvCxnSpPr>
          <p:cNvPr id="323" name="Gerade Verbindung 322"/>
          <p:cNvCxnSpPr/>
          <p:nvPr/>
        </p:nvCxnSpPr>
        <p:spPr bwMode="auto">
          <a:xfrm>
            <a:off x="683568" y="5805264"/>
            <a:ext cx="7848872" cy="0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3" name="Rechteck 332"/>
          <p:cNvSpPr/>
          <p:nvPr/>
        </p:nvSpPr>
        <p:spPr>
          <a:xfrm>
            <a:off x="3342804" y="5949280"/>
            <a:ext cx="317341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kern="0" dirty="0" err="1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1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 Distribution Node,</a:t>
            </a:r>
            <a:br>
              <a:rPr lang="en-US" sz="11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1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one or more collocated </a:t>
            </a:r>
            <a:r>
              <a:rPr lang="en-US" sz="1100" kern="0" dirty="0" err="1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1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 sectors </a:t>
            </a:r>
            <a:endParaRPr lang="de-DE" sz="1100" dirty="0">
              <a:solidFill>
                <a:schemeClr val="tx1"/>
              </a:solidFill>
            </a:endParaRPr>
          </a:p>
        </p:txBody>
      </p:sp>
      <p:grpSp>
        <p:nvGrpSpPr>
          <p:cNvPr id="336" name="Gruppieren 335"/>
          <p:cNvGrpSpPr/>
          <p:nvPr/>
        </p:nvGrpSpPr>
        <p:grpSpPr>
          <a:xfrm>
            <a:off x="1619672" y="6077118"/>
            <a:ext cx="72008" cy="144016"/>
            <a:chOff x="2502942" y="2348880"/>
            <a:chExt cx="72008" cy="144016"/>
          </a:xfrm>
        </p:grpSpPr>
        <p:cxnSp>
          <p:nvCxnSpPr>
            <p:cNvPr id="337" name="Gerade Verbindung 336"/>
            <p:cNvCxnSpPr/>
            <p:nvPr/>
          </p:nvCxnSpPr>
          <p:spPr bwMode="auto">
            <a:xfrm>
              <a:off x="2502942" y="2491286"/>
              <a:ext cx="72008" cy="0"/>
            </a:xfrm>
            <a:prstGeom prst="line">
              <a:avLst/>
            </a:prstGeom>
            <a:solidFill>
              <a:srgbClr val="00B8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38" name="Gerade Verbindung 337"/>
            <p:cNvCxnSpPr/>
            <p:nvPr/>
          </p:nvCxnSpPr>
          <p:spPr bwMode="auto">
            <a:xfrm rot="5400000">
              <a:off x="2489278" y="2420888"/>
              <a:ext cx="144016" cy="0"/>
            </a:xfrm>
            <a:prstGeom prst="line">
              <a:avLst/>
            </a:prstGeom>
            <a:solidFill>
              <a:srgbClr val="00B8FF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39" name="Rechteck 338"/>
          <p:cNvSpPr/>
          <p:nvPr/>
        </p:nvSpPr>
        <p:spPr>
          <a:xfrm>
            <a:off x="1691680" y="5949280"/>
            <a:ext cx="85123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kern="0" dirty="0" err="1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1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 sector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593938" y="5902342"/>
            <a:ext cx="7377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egend:</a:t>
            </a:r>
            <a:endParaRPr lang="de-DE" sz="1200" dirty="0"/>
          </a:p>
        </p:txBody>
      </p:sp>
      <p:cxnSp>
        <p:nvCxnSpPr>
          <p:cNvPr id="147" name="Gerade Verbindung 146"/>
          <p:cNvCxnSpPr>
            <a:stCxn id="236" idx="0"/>
          </p:cNvCxnSpPr>
          <p:nvPr/>
        </p:nvCxnSpPr>
        <p:spPr>
          <a:xfrm rot="5400000" flipH="1" flipV="1">
            <a:off x="1762379" y="3717266"/>
            <a:ext cx="29443" cy="419616"/>
          </a:xfrm>
          <a:prstGeom prst="bentConnector5">
            <a:avLst>
              <a:gd name="adj1" fmla="val 140611"/>
              <a:gd name="adj2" fmla="val 55696"/>
              <a:gd name="adj3" fmla="val 130568"/>
            </a:avLst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9" name="Gerade Verbindung 146"/>
          <p:cNvCxnSpPr>
            <a:stCxn id="235" idx="2"/>
          </p:cNvCxnSpPr>
          <p:nvPr/>
        </p:nvCxnSpPr>
        <p:spPr>
          <a:xfrm rot="16200000" flipH="1">
            <a:off x="1873893" y="3799337"/>
            <a:ext cx="51304" cy="174725"/>
          </a:xfrm>
          <a:prstGeom prst="bentConnector3">
            <a:avLst>
              <a:gd name="adj1" fmla="val 77015"/>
            </a:avLst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0" name="Grafik 159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9672" y="4797152"/>
            <a:ext cx="141847" cy="548884"/>
          </a:xfrm>
          <a:prstGeom prst="rect">
            <a:avLst/>
          </a:prstGeom>
        </p:spPr>
      </p:pic>
      <p:pic>
        <p:nvPicPr>
          <p:cNvPr id="162" name="Picture 2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2" r="65432"/>
          <a:stretch/>
        </p:blipFill>
        <p:spPr bwMode="auto">
          <a:xfrm flipV="1">
            <a:off x="1377016" y="4917782"/>
            <a:ext cx="213871" cy="22501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</p:pic>
      <p:sp>
        <p:nvSpPr>
          <p:cNvPr id="165" name="Rechteck 164"/>
          <p:cNvSpPr/>
          <p:nvPr/>
        </p:nvSpPr>
        <p:spPr>
          <a:xfrm>
            <a:off x="5857774" y="4937801"/>
            <a:ext cx="48282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iber</a:t>
            </a:r>
            <a:endParaRPr lang="de-DE" sz="1200" dirty="0"/>
          </a:p>
        </p:txBody>
      </p:sp>
      <p:sp>
        <p:nvSpPr>
          <p:cNvPr id="166" name="Rechteck 165"/>
          <p:cNvSpPr/>
          <p:nvPr/>
        </p:nvSpPr>
        <p:spPr bwMode="gray">
          <a:xfrm>
            <a:off x="5577470" y="4684751"/>
            <a:ext cx="207640" cy="524940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vert270" wrap="square" lIns="0" tIns="0" rIns="0" bIns="0" rtlCol="0" anchor="ctr" anchorCtr="0">
            <a:noAutofit/>
          </a:bodyPr>
          <a:lstStyle/>
          <a:p>
            <a:pPr algn="ctr" defTabSz="457293" fontAlgn="base">
              <a:lnSpc>
                <a:spcPct val="80000"/>
              </a:lnSpc>
              <a:buClr>
                <a:srgbClr val="E20074"/>
              </a:buClr>
              <a:buSzPct val="75000"/>
            </a:pPr>
            <a:r>
              <a:rPr lang="de-DE" sz="1000" dirty="0" smtClean="0">
                <a:solidFill>
                  <a:srgbClr val="000000"/>
                </a:solidFill>
                <a:latin typeface="Tele-GroteskNor" pitchFamily="2" charset="0"/>
                <a:cs typeface="Arial Unicode MS" panose="020B0604020202020204" pitchFamily="34" charset="-128"/>
              </a:rPr>
              <a:t>Fiber PoP</a:t>
            </a:r>
            <a:endParaRPr lang="de-DE" sz="10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163" name="Picture 15" descr="C:\Users\master\Desktop\last\untitled.447.tif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67292" y="4892608"/>
            <a:ext cx="198025" cy="264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6" name="Rechteck 141"/>
          <p:cNvSpPr/>
          <p:nvPr/>
        </p:nvSpPr>
        <p:spPr bwMode="gray">
          <a:xfrm>
            <a:off x="1746564" y="4867130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cxnSp>
        <p:nvCxnSpPr>
          <p:cNvPr id="145" name="Gerade Verbindung 172"/>
          <p:cNvCxnSpPr>
            <a:stCxn id="142" idx="1"/>
          </p:cNvCxnSpPr>
          <p:nvPr/>
        </p:nvCxnSpPr>
        <p:spPr>
          <a:xfrm flipH="1" flipV="1">
            <a:off x="1899546" y="2677426"/>
            <a:ext cx="1281858" cy="185357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Gerade Verbindung 172"/>
          <p:cNvCxnSpPr>
            <a:stCxn id="142" idx="1"/>
            <a:endCxn id="240" idx="3"/>
          </p:cNvCxnSpPr>
          <p:nvPr/>
        </p:nvCxnSpPr>
        <p:spPr>
          <a:xfrm flipH="1">
            <a:off x="1663825" y="2862783"/>
            <a:ext cx="1517579" cy="87104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1" name="Gerade Verbindung 172"/>
          <p:cNvCxnSpPr>
            <a:stCxn id="144" idx="1"/>
          </p:cNvCxnSpPr>
          <p:nvPr/>
        </p:nvCxnSpPr>
        <p:spPr>
          <a:xfrm flipH="1">
            <a:off x="2048440" y="4951015"/>
            <a:ext cx="1132964" cy="69977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3" name="Gerade Verbindung 172"/>
          <p:cNvCxnSpPr>
            <a:stCxn id="143" idx="1"/>
          </p:cNvCxnSpPr>
          <p:nvPr/>
        </p:nvCxnSpPr>
        <p:spPr>
          <a:xfrm flipH="1" flipV="1">
            <a:off x="2048440" y="3834957"/>
            <a:ext cx="1132964" cy="71942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3" name="Gruppieren 335"/>
          <p:cNvGrpSpPr/>
          <p:nvPr/>
        </p:nvGrpSpPr>
        <p:grpSpPr>
          <a:xfrm>
            <a:off x="1976112" y="3754760"/>
            <a:ext cx="79209" cy="144016"/>
            <a:chOff x="2502942" y="2348880"/>
            <a:chExt cx="72008" cy="144016"/>
          </a:xfrm>
        </p:grpSpPr>
        <p:cxnSp>
          <p:nvCxnSpPr>
            <p:cNvPr id="94" name="Gerade Verbindung 336"/>
            <p:cNvCxnSpPr/>
            <p:nvPr/>
          </p:nvCxnSpPr>
          <p:spPr bwMode="auto">
            <a:xfrm>
              <a:off x="2502942" y="2491286"/>
              <a:ext cx="72008" cy="0"/>
            </a:xfrm>
            <a:prstGeom prst="line">
              <a:avLst/>
            </a:prstGeom>
            <a:solidFill>
              <a:srgbClr val="00B8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5" name="Gerade Verbindung 337"/>
            <p:cNvCxnSpPr/>
            <p:nvPr/>
          </p:nvCxnSpPr>
          <p:spPr bwMode="auto">
            <a:xfrm rot="5400000">
              <a:off x="2489278" y="2420888"/>
              <a:ext cx="144016" cy="0"/>
            </a:xfrm>
            <a:prstGeom prst="line">
              <a:avLst/>
            </a:prstGeom>
            <a:solidFill>
              <a:srgbClr val="00B8FF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87" name="Rechteck 86"/>
          <p:cNvSpPr/>
          <p:nvPr/>
        </p:nvSpPr>
        <p:spPr bwMode="gray">
          <a:xfrm>
            <a:off x="6874143" y="5868450"/>
            <a:ext cx="207640" cy="524940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vert270" wrap="square" lIns="0" tIns="0" rIns="0" bIns="0" rtlCol="0" anchor="ctr" anchorCtr="0">
            <a:noAutofit/>
          </a:bodyPr>
          <a:lstStyle/>
          <a:p>
            <a:pPr algn="ctr" defTabSz="457293" fontAlgn="base">
              <a:lnSpc>
                <a:spcPct val="80000"/>
              </a:lnSpc>
              <a:buClr>
                <a:srgbClr val="E20074"/>
              </a:buClr>
              <a:buSzPct val="75000"/>
            </a:pPr>
            <a:r>
              <a:rPr lang="de-DE" sz="1000" dirty="0" smtClean="0">
                <a:solidFill>
                  <a:srgbClr val="000000"/>
                </a:solidFill>
                <a:latin typeface="Tele-GroteskNor" pitchFamily="2" charset="0"/>
                <a:cs typeface="Arial Unicode MS" panose="020B0604020202020204" pitchFamily="34" charset="-128"/>
              </a:rPr>
              <a:t>Fiber PoP</a:t>
            </a:r>
            <a:endParaRPr lang="de-DE" sz="10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55780" y="2041103"/>
            <a:ext cx="107112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se cases: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26254693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685801"/>
            <a:ext cx="8449816" cy="726975"/>
          </a:xfrm>
        </p:spPr>
        <p:txBody>
          <a:bodyPr/>
          <a:lstStyle/>
          <a:p>
            <a:r>
              <a:rPr lang="en-US" dirty="0" smtClean="0"/>
              <a:t>Usage Model: </a:t>
            </a:r>
            <a:r>
              <a:rPr lang="en-US" dirty="0" err="1" smtClean="0"/>
              <a:t>mmWave</a:t>
            </a:r>
            <a:r>
              <a:rPr lang="en-US" dirty="0" smtClean="0"/>
              <a:t> Distribution Network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smtClean="0"/>
              <a:t>Slide </a:t>
            </a:r>
            <a:fld id="{440F5867-744E-4AA6-B0ED-4C44D2DFBB7B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8" name="Shape 212"/>
          <p:cNvSpPr txBox="1"/>
          <p:nvPr/>
        </p:nvSpPr>
        <p:spPr>
          <a:xfrm>
            <a:off x="5148064" y="1556792"/>
            <a:ext cx="3697288" cy="4824536"/>
          </a:xfrm>
          <a:prstGeom prst="rect">
            <a:avLst/>
          </a:prstGeom>
          <a:noFill/>
          <a:ln>
            <a:noFill/>
          </a:ln>
        </p:spPr>
        <p:txBody>
          <a:bodyPr lIns="91425" tIns="45700" rIns="36000" bIns="45700" anchor="t" anchorCtr="0">
            <a:no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nvironment: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evices operate in outdoor environment with LOS under most conditions.  For  multiple hop wireless backhauling device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istance per hop between the paired DNs is &lt; </a:t>
            </a:r>
            <a:r>
              <a:rPr lang="en-US" sz="1200" kern="0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00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 (street-poles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), &lt; 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1000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(rooftop)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nd the distance between DNs and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TTH/B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Home/Building APs is &lt; 100 m.</a:t>
            </a:r>
            <a:endParaRPr lang="en-US" sz="1200" b="1" u="sng" kern="0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600"/>
              </a:spcBef>
              <a:spcAft>
                <a:spcPts val="0"/>
              </a:spcAft>
              <a:buSzPct val="25000"/>
              <a:buFont typeface="Arial"/>
              <a:buNone/>
            </a:pPr>
            <a:r>
              <a:rPr lang="en-US" sz="120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terference Conditions</a:t>
            </a:r>
            <a:r>
              <a:rPr lang="en-US" sz="120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: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marL="85725" indent="-85725"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terference from environmental conditions or other </a:t>
            </a:r>
            <a:r>
              <a:rPr lang="en-US" sz="12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operations in the same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rea.</a:t>
            </a:r>
            <a:endParaRPr lang="en-US" sz="12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85725" indent="-85725"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bstructions of the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OS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nd beam un-alignment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200" kern="0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600"/>
              </a:spcBef>
              <a:spcAft>
                <a:spcPts val="0"/>
              </a:spcAft>
              <a:buSzPct val="25000"/>
              <a:buFont typeface="Arial"/>
              <a:buNone/>
            </a:pPr>
            <a:r>
              <a:rPr lang="en-US" sz="120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se Case:</a:t>
            </a:r>
            <a:endParaRPr lang="en-US" sz="1200" b="1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e 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WTTH/B DNs, which offer FTTH-like broadband access for residential customers as well as 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Small cells and </a:t>
            </a:r>
            <a:r>
              <a:rPr lang="en-US" sz="1200" kern="0" dirty="0" err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WiFi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-APs </a:t>
            </a:r>
            <a:r>
              <a:rPr lang="en-US" sz="1200" kern="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(e.g. 802.11ac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), which offer mobile and nomadic service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ar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nected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o a 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distribution network.</a:t>
            </a:r>
            <a:endParaRPr lang="en-US" sz="12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The 11ay 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distribution network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nects by optical fiber to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1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r more fiber-</a:t>
            </a:r>
            <a:r>
              <a:rPr lang="en-US" sz="12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PoPs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towards the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elco / Service Provider network.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Redundancy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f active radio equipment via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esh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opology and redundant central WBH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N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t “first” pole near the fiber-</a:t>
            </a:r>
            <a:r>
              <a:rPr lang="en-US" sz="12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PoP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(no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ingle-Point-of-Failure)</a:t>
            </a:r>
            <a:endParaRPr lang="en-US" sz="12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The Internet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nectivity 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Qo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/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Qo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and latency requirements are met with the user’s applications.</a:t>
            </a:r>
            <a:endParaRPr lang="en-US" sz="8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Shape 213"/>
          <p:cNvSpPr txBox="1"/>
          <p:nvPr/>
        </p:nvSpPr>
        <p:spPr>
          <a:xfrm>
            <a:off x="323528" y="1556792"/>
            <a:ext cx="4680520" cy="482453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re-Conditions: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 number of 11ay DNs forms a wireless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utdoor </a:t>
            </a:r>
            <a:r>
              <a:rPr lang="en-US" sz="105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istribution network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ver multiple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hops in order to reach coverage. In addition to the wireless backhaul network, also a point-to-multipoint </a:t>
            </a:r>
            <a:r>
              <a:rPr lang="en-US" sz="105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ccess network is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build to serve homes, buildings, </a:t>
            </a:r>
            <a:r>
              <a:rPr lang="en-US" sz="105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WiFi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-AP and small cells. </a:t>
            </a:r>
            <a:endParaRPr sz="105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60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pplication – WTTH Access: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en-US" sz="105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lang="en-US" sz="105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istribution network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ill be used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or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ackhauling of WTTH DNs, which are placed at street poles (e.g. lamppost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).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WTTH DNs serve the individual homes/ flats via a window AP at client side instead of deploying expensive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iber networks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 the building branch and </a:t>
            </a:r>
            <a:r>
              <a:rPr lang="en-US" sz="1050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house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 The WTTH radio links work </a:t>
            </a:r>
            <a:r>
              <a:rPr lang="en-US" sz="105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on the same or optional on different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mWave frequency than the </a:t>
            </a:r>
            <a:r>
              <a:rPr lang="en-US" sz="1050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backhaul links. </a:t>
            </a:r>
            <a:endParaRPr lang="en-US" sz="105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60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pplication </a:t>
            </a:r>
            <a:r>
              <a:rPr lang="en-US" sz="105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– </a:t>
            </a:r>
            <a:r>
              <a:rPr lang="en-US" sz="105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TTB Access: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en-US" sz="105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lang="en-US" sz="105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istribution network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ill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e used for backhauling of WTTB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Ns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, which are placed at street poles (e.g. lamppost) or at walls or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rooftops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 The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TTB links work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n the same </a:t>
            </a:r>
            <a:r>
              <a:rPr lang="en-US" sz="105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frequency as the </a:t>
            </a:r>
            <a:r>
              <a:rPr lang="en-US" sz="105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ackhaul links.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f street poles are used, the WTTB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Ns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rve the buildings via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n outdoor-wall AP.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 case of Wall-to-Wall or Roof-to-Roof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ackhaul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, it serves at the same time as </a:t>
            </a:r>
            <a:r>
              <a:rPr lang="en-US" sz="105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building access network without usage of additional street  poles. The WTTB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cenario requires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n additional wireless or fixed </a:t>
            </a:r>
            <a:r>
              <a:rPr lang="en-US" sz="105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house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network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o serve the </a:t>
            </a:r>
            <a:r>
              <a:rPr lang="en-US" sz="1050" kern="0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individual flats</a:t>
            </a:r>
            <a:r>
              <a:rPr lang="en-US" sz="105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en-US" sz="1050" kern="0" dirty="0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60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pplication – </a:t>
            </a:r>
            <a:r>
              <a:rPr lang="en-US" sz="1050" b="1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iFi</a:t>
            </a:r>
            <a:r>
              <a:rPr lang="en-US" sz="105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-AP &amp; Small cell Backhaul: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en-US" sz="105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lang="en-US" sz="105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istribution network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ill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e used for backhauling of Small Cells and Wi-Fi APs, which are e.g. placed at street poles. Traffic of mobile and nomadic services will be aggregated and carried towards the mobile core. The sub-6 GHz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NLOS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peration of the Small Cells and Wi-Fi APs imposes less challenges compared to WTTH/B to reach </a:t>
            </a:r>
            <a:r>
              <a:rPr lang="en-US" sz="105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house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(mobile) users, however does not reach the capacity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evel of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WTTH/B solutions.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</a:pPr>
            <a:endParaRPr lang="en-US" sz="1050" kern="0" dirty="0" smtClean="0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</a:pPr>
            <a:endParaRPr lang="en-US" sz="1050" kern="0" dirty="0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July 2017</a:t>
            </a:r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901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lace presentation subject title text here]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Times New Roman"/>
        <a:ea typeface="MS Gothic"/>
        <a:cs typeface=""/>
      </a:majorFont>
      <a:minorFont>
        <a:latin typeface="Times New Roman"/>
        <a:ea typeface="MS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esentation1" id="{6F2D85B4-B705-4018-9CF0-E6E4BD03567D}" vid="{6A25E773-D890-44CD-BA7F-9C3E9F9CAE58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lace presentation subject title text here]</Template>
  <TotalTime>0</TotalTime>
  <Words>2512</Words>
  <Application>Microsoft Office PowerPoint</Application>
  <PresentationFormat>Bildschirmpräsentation (4:3)</PresentationFormat>
  <Paragraphs>329</Paragraphs>
  <Slides>15</Slides>
  <Notes>12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5</vt:i4>
      </vt:variant>
    </vt:vector>
  </HeadingPairs>
  <TitlesOfParts>
    <vt:vector size="18" baseType="lpstr">
      <vt:lpstr>place presentation subject title text here]</vt:lpstr>
      <vt:lpstr>think-cell Folie</vt:lpstr>
      <vt:lpstr>Document</vt:lpstr>
      <vt:lpstr>mmWave Distribution Network Usage Model</vt:lpstr>
      <vt:lpstr>Abstract</vt:lpstr>
      <vt:lpstr>Introduction</vt:lpstr>
      <vt:lpstr>Service Provider Motivation for mmWave Distribution Networks</vt:lpstr>
      <vt:lpstr>mmWave Distribution Network – Area View</vt:lpstr>
      <vt:lpstr>mmWave Distribution Network  Use Case Matrix</vt:lpstr>
      <vt:lpstr>Distance Distribution – Operator Example for mmWave Distribution Networks </vt:lpstr>
      <vt:lpstr>Usage Model: mmWave Distribution Network</vt:lpstr>
      <vt:lpstr>Usage Model: mmWave Distribution Network</vt:lpstr>
      <vt:lpstr>Usage Model: Operational Requirements</vt:lpstr>
      <vt:lpstr>Proposed changes to 11ay use case document [3]</vt:lpstr>
      <vt:lpstr>Summary</vt:lpstr>
      <vt:lpstr>Straw Poll #1</vt:lpstr>
      <vt:lpstr>References</vt:lpstr>
      <vt:lpstr>Abbreviations</vt:lpstr>
    </vt:vector>
  </TitlesOfParts>
  <Company>DTAG, Technology Innovat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verview VLC Use Cases</dc:title>
  <dc:creator>Grigat.Michael</dc:creator>
  <cp:lastModifiedBy>Grigat.Michael</cp:lastModifiedBy>
  <cp:revision>503</cp:revision>
  <cp:lastPrinted>2017-07-07T16:51:48Z</cp:lastPrinted>
  <dcterms:created xsi:type="dcterms:W3CDTF">2017-03-29T12:39:23Z</dcterms:created>
  <dcterms:modified xsi:type="dcterms:W3CDTF">2017-07-11T08:51:27Z</dcterms:modified>
</cp:coreProperties>
</file>